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sldIdLst>
    <p:sldId id="256" r:id="rId2"/>
    <p:sldId id="257" r:id="rId3"/>
    <p:sldId id="269" r:id="rId4"/>
    <p:sldId id="270" r:id="rId5"/>
    <p:sldId id="259" r:id="rId6"/>
    <p:sldId id="260" r:id="rId7"/>
    <p:sldId id="258" r:id="rId8"/>
    <p:sldId id="264" r:id="rId9"/>
    <p:sldId id="266" r:id="rId10"/>
    <p:sldId id="267" r:id="rId11"/>
    <p:sldId id="271" r:id="rId12"/>
    <p:sldId id="262" r:id="rId13"/>
    <p:sldId id="263" r:id="rId14"/>
    <p:sldId id="272" r:id="rId15"/>
    <p:sldId id="268" r:id="rId16"/>
    <p:sldId id="265" r:id="rId17"/>
    <p:sldId id="261" r:id="rId1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8DC5F1-A3D0-425E-97D1-4509C15B06D6}" v="633" dt="2025-09-26T11:45:08.8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78" d="100"/>
          <a:sy n="78" d="100"/>
        </p:scale>
        <p:origin x="83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hard Buntrock" userId="1e56b6ab-db35-4ce1-be34-fc2f5138025f" providerId="ADAL" clId="{798DC5F1-A3D0-425E-97D1-4509C15B06D6}"/>
    <pc:docChg chg="undo custSel addSld modSld sldOrd">
      <pc:chgData name="Richard Buntrock" userId="1e56b6ab-db35-4ce1-be34-fc2f5138025f" providerId="ADAL" clId="{798DC5F1-A3D0-425E-97D1-4509C15B06D6}" dt="2025-09-26T12:26:37.697" v="6231" actId="20577"/>
      <pc:docMkLst>
        <pc:docMk/>
      </pc:docMkLst>
      <pc:sldChg chg="modSp mod">
        <pc:chgData name="Richard Buntrock" userId="1e56b6ab-db35-4ce1-be34-fc2f5138025f" providerId="ADAL" clId="{798DC5F1-A3D0-425E-97D1-4509C15B06D6}" dt="2025-09-26T10:18:17.801" v="3268" actId="20577"/>
        <pc:sldMkLst>
          <pc:docMk/>
          <pc:sldMk cId="1635355851" sldId="257"/>
        </pc:sldMkLst>
        <pc:spChg chg="mod">
          <ac:chgData name="Richard Buntrock" userId="1e56b6ab-db35-4ce1-be34-fc2f5138025f" providerId="ADAL" clId="{798DC5F1-A3D0-425E-97D1-4509C15B06D6}" dt="2025-09-26T10:18:17.801" v="3268" actId="20577"/>
          <ac:spMkLst>
            <pc:docMk/>
            <pc:sldMk cId="1635355851" sldId="257"/>
            <ac:spMk id="3" creationId="{77B3C0F5-2A6A-A2C3-CC80-5E3886C38B35}"/>
          </ac:spMkLst>
        </pc:spChg>
      </pc:sldChg>
      <pc:sldChg chg="addSp delSp modSp mod">
        <pc:chgData name="Richard Buntrock" userId="1e56b6ab-db35-4ce1-be34-fc2f5138025f" providerId="ADAL" clId="{798DC5F1-A3D0-425E-97D1-4509C15B06D6}" dt="2025-09-26T09:32:15.990" v="2575" actId="20577"/>
        <pc:sldMkLst>
          <pc:docMk/>
          <pc:sldMk cId="859167697" sldId="258"/>
        </pc:sldMkLst>
        <pc:spChg chg="mod">
          <ac:chgData name="Richard Buntrock" userId="1e56b6ab-db35-4ce1-be34-fc2f5138025f" providerId="ADAL" clId="{798DC5F1-A3D0-425E-97D1-4509C15B06D6}" dt="2025-09-26T07:53:27.133" v="989" actId="948"/>
          <ac:spMkLst>
            <pc:docMk/>
            <pc:sldMk cId="859167697" sldId="258"/>
            <ac:spMk id="2" creationId="{1CE27F8D-160F-5E75-597B-52D6ADE6A26C}"/>
          </ac:spMkLst>
        </pc:spChg>
        <pc:spChg chg="add del mod">
          <ac:chgData name="Richard Buntrock" userId="1e56b6ab-db35-4ce1-be34-fc2f5138025f" providerId="ADAL" clId="{798DC5F1-A3D0-425E-97D1-4509C15B06D6}" dt="2025-09-26T07:53:21.439" v="986"/>
          <ac:spMkLst>
            <pc:docMk/>
            <pc:sldMk cId="859167697" sldId="258"/>
            <ac:spMk id="3" creationId="{823B4833-9187-1F30-7908-CD8089165A81}"/>
          </ac:spMkLst>
        </pc:spChg>
        <pc:spChg chg="add mod">
          <ac:chgData name="Richard Buntrock" userId="1e56b6ab-db35-4ce1-be34-fc2f5138025f" providerId="ADAL" clId="{798DC5F1-A3D0-425E-97D1-4509C15B06D6}" dt="2025-09-26T07:53:15.786" v="982"/>
          <ac:spMkLst>
            <pc:docMk/>
            <pc:sldMk cId="859167697" sldId="258"/>
            <ac:spMk id="4" creationId="{5DE1888F-6E27-6102-1E41-BEF417E70153}"/>
          </ac:spMkLst>
        </pc:spChg>
        <pc:spChg chg="add">
          <ac:chgData name="Richard Buntrock" userId="1e56b6ab-db35-4ce1-be34-fc2f5138025f" providerId="ADAL" clId="{798DC5F1-A3D0-425E-97D1-4509C15B06D6}" dt="2025-09-26T07:53:18.254" v="984"/>
          <ac:spMkLst>
            <pc:docMk/>
            <pc:sldMk cId="859167697" sldId="258"/>
            <ac:spMk id="6" creationId="{584BD3B1-E8E1-E4DE-EB88-BF7C02AA8E1F}"/>
          </ac:spMkLst>
        </pc:spChg>
        <pc:spChg chg="add mod">
          <ac:chgData name="Richard Buntrock" userId="1e56b6ab-db35-4ce1-be34-fc2f5138025f" providerId="ADAL" clId="{798DC5F1-A3D0-425E-97D1-4509C15B06D6}" dt="2025-09-26T09:32:15.990" v="2575" actId="20577"/>
          <ac:spMkLst>
            <pc:docMk/>
            <pc:sldMk cId="859167697" sldId="258"/>
            <ac:spMk id="7" creationId="{29C94BB2-D25B-2D32-A131-B8A154FC6342}"/>
          </ac:spMkLst>
        </pc:spChg>
        <pc:spChg chg="add del mod modVis">
          <ac:chgData name="Richard Buntrock" userId="1e56b6ab-db35-4ce1-be34-fc2f5138025f" providerId="ADAL" clId="{798DC5F1-A3D0-425E-97D1-4509C15B06D6}" dt="2025-09-26T07:53:27.165" v="1010"/>
          <ac:spMkLst>
            <pc:docMk/>
            <pc:sldMk cId="859167697" sldId="258"/>
            <ac:spMk id="8" creationId="{7FD83EEB-6A17-EFBF-1C49-36A31BF1EF8D}"/>
          </ac:spMkLst>
        </pc:spChg>
        <pc:spChg chg="add mod">
          <ac:chgData name="Richard Buntrock" userId="1e56b6ab-db35-4ce1-be34-fc2f5138025f" providerId="ADAL" clId="{798DC5F1-A3D0-425E-97D1-4509C15B06D6}" dt="2025-09-26T07:54:38.577" v="1079" actId="1076"/>
          <ac:spMkLst>
            <pc:docMk/>
            <pc:sldMk cId="859167697" sldId="258"/>
            <ac:spMk id="9" creationId="{6DE8E843-2DAB-0702-6FA6-09B1181129FE}"/>
          </ac:spMkLst>
        </pc:spChg>
        <pc:graphicFrameChg chg="mod">
          <ac:chgData name="Richard Buntrock" userId="1e56b6ab-db35-4ce1-be34-fc2f5138025f" providerId="ADAL" clId="{798DC5F1-A3D0-425E-97D1-4509C15B06D6}" dt="2025-09-26T07:53:27.165" v="1012"/>
          <ac:graphicFrameMkLst>
            <pc:docMk/>
            <pc:sldMk cId="859167697" sldId="258"/>
            <ac:graphicFrameMk id="5" creationId="{CF2AD57E-DD48-BB05-028D-40C33732E5D0}"/>
          </ac:graphicFrameMkLst>
        </pc:graphicFrameChg>
        <pc:picChg chg="add mod">
          <ac:chgData name="Richard Buntrock" userId="1e56b6ab-db35-4ce1-be34-fc2f5138025f" providerId="ADAL" clId="{798DC5F1-A3D0-425E-97D1-4509C15B06D6}" dt="2025-09-26T07:54:20.018" v="1038" actId="1076"/>
          <ac:picMkLst>
            <pc:docMk/>
            <pc:sldMk cId="859167697" sldId="258"/>
            <ac:picMk id="3074" creationId="{EE94631F-A886-8640-7189-B40054893CD3}"/>
          </ac:picMkLst>
        </pc:picChg>
      </pc:sldChg>
      <pc:sldChg chg="addSp delSp modSp mod chgLayout">
        <pc:chgData name="Richard Buntrock" userId="1e56b6ab-db35-4ce1-be34-fc2f5138025f" providerId="ADAL" clId="{798DC5F1-A3D0-425E-97D1-4509C15B06D6}" dt="2025-09-26T11:40:56.401" v="4662" actId="20577"/>
        <pc:sldMkLst>
          <pc:docMk/>
          <pc:sldMk cId="770596202" sldId="259"/>
        </pc:sldMkLst>
        <pc:spChg chg="mod ord">
          <ac:chgData name="Richard Buntrock" userId="1e56b6ab-db35-4ce1-be34-fc2f5138025f" providerId="ADAL" clId="{798DC5F1-A3D0-425E-97D1-4509C15B06D6}" dt="2025-09-26T11:36:56.830" v="4322" actId="948"/>
          <ac:spMkLst>
            <pc:docMk/>
            <pc:sldMk cId="770596202" sldId="259"/>
            <ac:spMk id="2" creationId="{A9F5F40A-B537-F8F3-B57C-3FECCE518DF4}"/>
          </ac:spMkLst>
        </pc:spChg>
        <pc:spChg chg="add del">
          <ac:chgData name="Richard Buntrock" userId="1e56b6ab-db35-4ce1-be34-fc2f5138025f" providerId="ADAL" clId="{798DC5F1-A3D0-425E-97D1-4509C15B06D6}" dt="2025-09-26T10:00:08.515" v="2935" actId="478"/>
          <ac:spMkLst>
            <pc:docMk/>
            <pc:sldMk cId="770596202" sldId="259"/>
            <ac:spMk id="3" creationId="{76F2D091-244E-7FC2-155C-AAD9BED909F4}"/>
          </ac:spMkLst>
        </pc:spChg>
        <pc:spChg chg="add mod ord">
          <ac:chgData name="Richard Buntrock" userId="1e56b6ab-db35-4ce1-be34-fc2f5138025f" providerId="ADAL" clId="{798DC5F1-A3D0-425E-97D1-4509C15B06D6}" dt="2025-09-26T11:40:56.401" v="4662" actId="20577"/>
          <ac:spMkLst>
            <pc:docMk/>
            <pc:sldMk cId="770596202" sldId="259"/>
            <ac:spMk id="45" creationId="{95949004-9D72-CE1C-CA36-F1AFA4D77186}"/>
          </ac:spMkLst>
        </pc:spChg>
        <pc:spChg chg="add del mod modVis">
          <ac:chgData name="Richard Buntrock" userId="1e56b6ab-db35-4ce1-be34-fc2f5138025f" providerId="ADAL" clId="{798DC5F1-A3D0-425E-97D1-4509C15B06D6}" dt="2025-09-26T11:36:56.891" v="4344"/>
          <ac:spMkLst>
            <pc:docMk/>
            <pc:sldMk cId="770596202" sldId="259"/>
            <ac:spMk id="46" creationId="{6A3E5EE4-97BB-86C0-5BF0-F12F5A4BDAD8}"/>
          </ac:spMkLst>
        </pc:spChg>
        <pc:graphicFrameChg chg="add del mod ord modGraphic">
          <ac:chgData name="Richard Buntrock" userId="1e56b6ab-db35-4ce1-be34-fc2f5138025f" providerId="ADAL" clId="{798DC5F1-A3D0-425E-97D1-4509C15B06D6}" dt="2025-09-26T10:00:05.287" v="2934" actId="3680"/>
          <ac:graphicFrameMkLst>
            <pc:docMk/>
            <pc:sldMk cId="770596202" sldId="259"/>
            <ac:graphicFrameMk id="4" creationId="{CDE139F7-C501-22F7-CCA4-2D10386EF2C7}"/>
          </ac:graphicFrameMkLst>
        </pc:graphicFrameChg>
        <pc:graphicFrameChg chg="mod">
          <ac:chgData name="Richard Buntrock" userId="1e56b6ab-db35-4ce1-be34-fc2f5138025f" providerId="ADAL" clId="{798DC5F1-A3D0-425E-97D1-4509C15B06D6}" dt="2025-09-26T11:36:56.894" v="4346"/>
          <ac:graphicFrameMkLst>
            <pc:docMk/>
            <pc:sldMk cId="770596202" sldId="259"/>
            <ac:graphicFrameMk id="5" creationId="{A96A96E6-B524-FC32-A055-371F95F6AD57}"/>
          </ac:graphicFrameMkLst>
        </pc:graphicFrameChg>
        <pc:graphicFrameChg chg="add del mod modGraphic">
          <ac:chgData name="Richard Buntrock" userId="1e56b6ab-db35-4ce1-be34-fc2f5138025f" providerId="ADAL" clId="{798DC5F1-A3D0-425E-97D1-4509C15B06D6}" dt="2025-09-26T10:00:56.003" v="2959" actId="478"/>
          <ac:graphicFrameMkLst>
            <pc:docMk/>
            <pc:sldMk cId="770596202" sldId="259"/>
            <ac:graphicFrameMk id="6" creationId="{A11CAC67-D48F-4FA2-C5D5-69F3F1009E84}"/>
          </ac:graphicFrameMkLst>
        </pc:graphicFrameChg>
        <pc:graphicFrameChg chg="add mod modGraphic">
          <ac:chgData name="Richard Buntrock" userId="1e56b6ab-db35-4ce1-be34-fc2f5138025f" providerId="ADAL" clId="{798DC5F1-A3D0-425E-97D1-4509C15B06D6}" dt="2025-09-26T11:36:53.345" v="4320" actId="1076"/>
          <ac:graphicFrameMkLst>
            <pc:docMk/>
            <pc:sldMk cId="770596202" sldId="259"/>
            <ac:graphicFrameMk id="7" creationId="{48FECCA6-03BF-D969-623E-BB47973840A0}"/>
          </ac:graphicFrameMkLst>
        </pc:graphicFrameChg>
        <pc:graphicFrameChg chg="add mod modGraphic">
          <ac:chgData name="Richard Buntrock" userId="1e56b6ab-db35-4ce1-be34-fc2f5138025f" providerId="ADAL" clId="{798DC5F1-A3D0-425E-97D1-4509C15B06D6}" dt="2025-09-26T11:36:53.345" v="4320" actId="1076"/>
          <ac:graphicFrameMkLst>
            <pc:docMk/>
            <pc:sldMk cId="770596202" sldId="259"/>
            <ac:graphicFrameMk id="8" creationId="{046F60C2-6162-56A9-5F4B-7241337A5A92}"/>
          </ac:graphicFrameMkLst>
        </pc:graphicFrameChg>
        <pc:graphicFrameChg chg="add mod modGraphic">
          <ac:chgData name="Richard Buntrock" userId="1e56b6ab-db35-4ce1-be34-fc2f5138025f" providerId="ADAL" clId="{798DC5F1-A3D0-425E-97D1-4509C15B06D6}" dt="2025-09-26T11:36:53.345" v="4320" actId="1076"/>
          <ac:graphicFrameMkLst>
            <pc:docMk/>
            <pc:sldMk cId="770596202" sldId="259"/>
            <ac:graphicFrameMk id="9" creationId="{3CC43650-4920-9591-FE26-EDFEE53166CA}"/>
          </ac:graphicFrameMkLst>
        </pc:graphicFrameChg>
        <pc:graphicFrameChg chg="add mod modGraphic">
          <ac:chgData name="Richard Buntrock" userId="1e56b6ab-db35-4ce1-be34-fc2f5138025f" providerId="ADAL" clId="{798DC5F1-A3D0-425E-97D1-4509C15B06D6}" dt="2025-09-26T11:36:53.345" v="4320" actId="1076"/>
          <ac:graphicFrameMkLst>
            <pc:docMk/>
            <pc:sldMk cId="770596202" sldId="259"/>
            <ac:graphicFrameMk id="10" creationId="{5686DB4A-CAA4-4F52-8B25-5FDDA0D6DEDB}"/>
          </ac:graphicFrameMkLst>
        </pc:graphicFrameChg>
        <pc:graphicFrameChg chg="add mod modGraphic">
          <ac:chgData name="Richard Buntrock" userId="1e56b6ab-db35-4ce1-be34-fc2f5138025f" providerId="ADAL" clId="{798DC5F1-A3D0-425E-97D1-4509C15B06D6}" dt="2025-09-26T11:36:53.345" v="4320" actId="1076"/>
          <ac:graphicFrameMkLst>
            <pc:docMk/>
            <pc:sldMk cId="770596202" sldId="259"/>
            <ac:graphicFrameMk id="11" creationId="{F9A50E4E-F484-54C6-D16C-33F9AD197CEA}"/>
          </ac:graphicFrameMkLst>
        </pc:graphicFrameChg>
        <pc:graphicFrameChg chg="add mod modGraphic">
          <ac:chgData name="Richard Buntrock" userId="1e56b6ab-db35-4ce1-be34-fc2f5138025f" providerId="ADAL" clId="{798DC5F1-A3D0-425E-97D1-4509C15B06D6}" dt="2025-09-26T11:36:53.345" v="4320" actId="1076"/>
          <ac:graphicFrameMkLst>
            <pc:docMk/>
            <pc:sldMk cId="770596202" sldId="259"/>
            <ac:graphicFrameMk id="12" creationId="{6B912E86-C88E-BBEC-66A3-3C45FFD2E1B8}"/>
          </ac:graphicFrameMkLst>
        </pc:graphicFrameChg>
        <pc:cxnChg chg="add mod">
          <ac:chgData name="Richard Buntrock" userId="1e56b6ab-db35-4ce1-be34-fc2f5138025f" providerId="ADAL" clId="{798DC5F1-A3D0-425E-97D1-4509C15B06D6}" dt="2025-09-26T11:36:53.345" v="4320" actId="1076"/>
          <ac:cxnSpMkLst>
            <pc:docMk/>
            <pc:sldMk cId="770596202" sldId="259"/>
            <ac:cxnSpMk id="14" creationId="{58738363-72D6-53FA-71FE-93B8CFC95060}"/>
          </ac:cxnSpMkLst>
        </pc:cxnChg>
        <pc:cxnChg chg="add mod">
          <ac:chgData name="Richard Buntrock" userId="1e56b6ab-db35-4ce1-be34-fc2f5138025f" providerId="ADAL" clId="{798DC5F1-A3D0-425E-97D1-4509C15B06D6}" dt="2025-09-26T11:36:53.345" v="4320" actId="1076"/>
          <ac:cxnSpMkLst>
            <pc:docMk/>
            <pc:sldMk cId="770596202" sldId="259"/>
            <ac:cxnSpMk id="16" creationId="{157B7FE9-6DC5-1F95-317E-AF2167E14F5E}"/>
          </ac:cxnSpMkLst>
        </pc:cxnChg>
        <pc:cxnChg chg="add mod">
          <ac:chgData name="Richard Buntrock" userId="1e56b6ab-db35-4ce1-be34-fc2f5138025f" providerId="ADAL" clId="{798DC5F1-A3D0-425E-97D1-4509C15B06D6}" dt="2025-09-26T11:36:53.345" v="4320" actId="1076"/>
          <ac:cxnSpMkLst>
            <pc:docMk/>
            <pc:sldMk cId="770596202" sldId="259"/>
            <ac:cxnSpMk id="18" creationId="{2B879682-47BF-51DF-CAC7-0BD88C3CA560}"/>
          </ac:cxnSpMkLst>
        </pc:cxnChg>
        <pc:cxnChg chg="add del mod">
          <ac:chgData name="Richard Buntrock" userId="1e56b6ab-db35-4ce1-be34-fc2f5138025f" providerId="ADAL" clId="{798DC5F1-A3D0-425E-97D1-4509C15B06D6}" dt="2025-09-26T10:10:27.627" v="3184" actId="478"/>
          <ac:cxnSpMkLst>
            <pc:docMk/>
            <pc:sldMk cId="770596202" sldId="259"/>
            <ac:cxnSpMk id="20" creationId="{65D21812-1E99-3573-11D0-52A975D3DF7C}"/>
          </ac:cxnSpMkLst>
        </pc:cxnChg>
        <pc:cxnChg chg="add del mod">
          <ac:chgData name="Richard Buntrock" userId="1e56b6ab-db35-4ce1-be34-fc2f5138025f" providerId="ADAL" clId="{798DC5F1-A3D0-425E-97D1-4509C15B06D6}" dt="2025-09-26T11:36:36.150" v="4317" actId="478"/>
          <ac:cxnSpMkLst>
            <pc:docMk/>
            <pc:sldMk cId="770596202" sldId="259"/>
            <ac:cxnSpMk id="23" creationId="{A67D8A8A-1250-25D4-62CF-77317B913DF5}"/>
          </ac:cxnSpMkLst>
        </pc:cxnChg>
        <pc:cxnChg chg="add del mod">
          <ac:chgData name="Richard Buntrock" userId="1e56b6ab-db35-4ce1-be34-fc2f5138025f" providerId="ADAL" clId="{798DC5F1-A3D0-425E-97D1-4509C15B06D6}" dt="2025-09-26T10:11:42.061" v="3197" actId="478"/>
          <ac:cxnSpMkLst>
            <pc:docMk/>
            <pc:sldMk cId="770596202" sldId="259"/>
            <ac:cxnSpMk id="28" creationId="{D6914A40-6D1E-0291-51E2-35E5D4171221}"/>
          </ac:cxnSpMkLst>
        </pc:cxnChg>
        <pc:cxnChg chg="add mod">
          <ac:chgData name="Richard Buntrock" userId="1e56b6ab-db35-4ce1-be34-fc2f5138025f" providerId="ADAL" clId="{798DC5F1-A3D0-425E-97D1-4509C15B06D6}" dt="2025-09-26T11:36:53.345" v="4320" actId="1076"/>
          <ac:cxnSpMkLst>
            <pc:docMk/>
            <pc:sldMk cId="770596202" sldId="259"/>
            <ac:cxnSpMk id="32" creationId="{6E79B054-999E-05D1-8AE2-14446C74BBB9}"/>
          </ac:cxnSpMkLst>
        </pc:cxnChg>
        <pc:cxnChg chg="add mod">
          <ac:chgData name="Richard Buntrock" userId="1e56b6ab-db35-4ce1-be34-fc2f5138025f" providerId="ADAL" clId="{798DC5F1-A3D0-425E-97D1-4509C15B06D6}" dt="2025-09-26T11:36:48.894" v="4319" actId="108"/>
          <ac:cxnSpMkLst>
            <pc:docMk/>
            <pc:sldMk cId="770596202" sldId="259"/>
            <ac:cxnSpMk id="44" creationId="{90523416-A358-0317-6E6F-4AEFCCDCF536}"/>
          </ac:cxnSpMkLst>
        </pc:cxnChg>
      </pc:sldChg>
      <pc:sldChg chg="modSp mod">
        <pc:chgData name="Richard Buntrock" userId="1e56b6ab-db35-4ce1-be34-fc2f5138025f" providerId="ADAL" clId="{798DC5F1-A3D0-425E-97D1-4509C15B06D6}" dt="2025-09-26T11:52:18.578" v="5370" actId="20577"/>
        <pc:sldMkLst>
          <pc:docMk/>
          <pc:sldMk cId="3169375965" sldId="261"/>
        </pc:sldMkLst>
        <pc:spChg chg="mod">
          <ac:chgData name="Richard Buntrock" userId="1e56b6ab-db35-4ce1-be34-fc2f5138025f" providerId="ADAL" clId="{798DC5F1-A3D0-425E-97D1-4509C15B06D6}" dt="2025-09-26T11:52:18.578" v="5370" actId="20577"/>
          <ac:spMkLst>
            <pc:docMk/>
            <pc:sldMk cId="3169375965" sldId="261"/>
            <ac:spMk id="3" creationId="{218B055B-D851-4E56-9585-4E3FC2368521}"/>
          </ac:spMkLst>
        </pc:spChg>
      </pc:sldChg>
      <pc:sldChg chg="addSp delSp modSp new mod ord">
        <pc:chgData name="Richard Buntrock" userId="1e56b6ab-db35-4ce1-be34-fc2f5138025f" providerId="ADAL" clId="{798DC5F1-A3D0-425E-97D1-4509C15B06D6}" dt="2025-09-26T11:00:36.410" v="3310"/>
        <pc:sldMkLst>
          <pc:docMk/>
          <pc:sldMk cId="2550292683" sldId="262"/>
        </pc:sldMkLst>
        <pc:spChg chg="mod">
          <ac:chgData name="Richard Buntrock" userId="1e56b6ab-db35-4ce1-be34-fc2f5138025f" providerId="ADAL" clId="{798DC5F1-A3D0-425E-97D1-4509C15B06D6}" dt="2025-09-26T07:33:34.003" v="857" actId="948"/>
          <ac:spMkLst>
            <pc:docMk/>
            <pc:sldMk cId="2550292683" sldId="262"/>
            <ac:spMk id="2" creationId="{57669195-865D-00C7-63F6-6E1BB54A0ECC}"/>
          </ac:spMkLst>
        </pc:spChg>
        <pc:spChg chg="del">
          <ac:chgData name="Richard Buntrock" userId="1e56b6ab-db35-4ce1-be34-fc2f5138025f" providerId="ADAL" clId="{798DC5F1-A3D0-425E-97D1-4509C15B06D6}" dt="2025-09-26T07:11:08.916" v="199"/>
          <ac:spMkLst>
            <pc:docMk/>
            <pc:sldMk cId="2550292683" sldId="262"/>
            <ac:spMk id="3" creationId="{8A4911B7-7C07-CD0A-958E-81CF84A2D197}"/>
          </ac:spMkLst>
        </pc:spChg>
        <pc:spChg chg="add del mod modVis">
          <ac:chgData name="Richard Buntrock" userId="1e56b6ab-db35-4ce1-be34-fc2f5138025f" providerId="ADAL" clId="{798DC5F1-A3D0-425E-97D1-4509C15B06D6}" dt="2025-09-26T07:10:52.562" v="55"/>
          <ac:spMkLst>
            <pc:docMk/>
            <pc:sldMk cId="2550292683" sldId="262"/>
            <ac:spMk id="5" creationId="{2DACDFC8-FF51-1CBD-B0D3-FEE43E4BC7DA}"/>
          </ac:spMkLst>
        </pc:spChg>
        <pc:spChg chg="add del mod modVis">
          <ac:chgData name="Richard Buntrock" userId="1e56b6ab-db35-4ce1-be34-fc2f5138025f" providerId="ADAL" clId="{798DC5F1-A3D0-425E-97D1-4509C15B06D6}" dt="2025-09-26T07:10:57.706" v="81"/>
          <ac:spMkLst>
            <pc:docMk/>
            <pc:sldMk cId="2550292683" sldId="262"/>
            <ac:spMk id="6" creationId="{0BD7515D-F849-B97E-B676-960D7505FFE7}"/>
          </ac:spMkLst>
        </pc:spChg>
        <pc:spChg chg="add del mod modVis">
          <ac:chgData name="Richard Buntrock" userId="1e56b6ab-db35-4ce1-be34-fc2f5138025f" providerId="ADAL" clId="{798DC5F1-A3D0-425E-97D1-4509C15B06D6}" dt="2025-09-26T07:11:04.566" v="110"/>
          <ac:spMkLst>
            <pc:docMk/>
            <pc:sldMk cId="2550292683" sldId="262"/>
            <ac:spMk id="7" creationId="{F867CC02-5B4B-F89F-011E-C9B55C65916E}"/>
          </ac:spMkLst>
        </pc:spChg>
        <pc:spChg chg="add del mod modVis">
          <ac:chgData name="Richard Buntrock" userId="1e56b6ab-db35-4ce1-be34-fc2f5138025f" providerId="ADAL" clId="{798DC5F1-A3D0-425E-97D1-4509C15B06D6}" dt="2025-09-26T07:11:05.148" v="136"/>
          <ac:spMkLst>
            <pc:docMk/>
            <pc:sldMk cId="2550292683" sldId="262"/>
            <ac:spMk id="8" creationId="{1FB2F17B-4C18-E534-D7D5-7DE79DD07E5A}"/>
          </ac:spMkLst>
        </pc:spChg>
        <pc:spChg chg="add del mod modVis">
          <ac:chgData name="Richard Buntrock" userId="1e56b6ab-db35-4ce1-be34-fc2f5138025f" providerId="ADAL" clId="{798DC5F1-A3D0-425E-97D1-4509C15B06D6}" dt="2025-09-26T07:11:07" v="167"/>
          <ac:spMkLst>
            <pc:docMk/>
            <pc:sldMk cId="2550292683" sldId="262"/>
            <ac:spMk id="9" creationId="{6D2240A2-2F3B-B0BD-6AC0-F1C577A1FD5C}"/>
          </ac:spMkLst>
        </pc:spChg>
        <pc:spChg chg="add del mod modVis">
          <ac:chgData name="Richard Buntrock" userId="1e56b6ab-db35-4ce1-be34-fc2f5138025f" providerId="ADAL" clId="{798DC5F1-A3D0-425E-97D1-4509C15B06D6}" dt="2025-09-26T07:11:08.083" v="196"/>
          <ac:spMkLst>
            <pc:docMk/>
            <pc:sldMk cId="2550292683" sldId="262"/>
            <ac:spMk id="10" creationId="{62660AF5-DD06-869C-5963-A98CF03A6822}"/>
          </ac:spMkLst>
        </pc:spChg>
        <pc:spChg chg="add mod">
          <ac:chgData name="Richard Buntrock" userId="1e56b6ab-db35-4ce1-be34-fc2f5138025f" providerId="ADAL" clId="{798DC5F1-A3D0-425E-97D1-4509C15B06D6}" dt="2025-09-26T08:17:33.218" v="1904" actId="20577"/>
          <ac:spMkLst>
            <pc:docMk/>
            <pc:sldMk cId="2550292683" sldId="262"/>
            <ac:spMk id="11" creationId="{9DDE35C6-AFEB-25A5-9D47-98DA5A417CC2}"/>
          </ac:spMkLst>
        </pc:spChg>
        <pc:spChg chg="add del mod modVis">
          <ac:chgData name="Richard Buntrock" userId="1e56b6ab-db35-4ce1-be34-fc2f5138025f" providerId="ADAL" clId="{798DC5F1-A3D0-425E-97D1-4509C15B06D6}" dt="2025-09-26T07:33:32.730" v="846"/>
          <ac:spMkLst>
            <pc:docMk/>
            <pc:sldMk cId="2550292683" sldId="262"/>
            <ac:spMk id="12" creationId="{9682B5FC-1F47-589F-3A42-5E6789E163AF}"/>
          </ac:spMkLst>
        </pc:spChg>
        <pc:spChg chg="add del mod modVis">
          <ac:chgData name="Richard Buntrock" userId="1e56b6ab-db35-4ce1-be34-fc2f5138025f" providerId="ADAL" clId="{798DC5F1-A3D0-425E-97D1-4509C15B06D6}" dt="2025-09-26T07:33:34.035" v="879"/>
          <ac:spMkLst>
            <pc:docMk/>
            <pc:sldMk cId="2550292683" sldId="262"/>
            <ac:spMk id="13" creationId="{2A37D4E5-BF2F-3F10-27C0-4AD02F7BBADD}"/>
          </ac:spMkLst>
        </pc:spChg>
        <pc:graphicFrameChg chg="add mod ord modVis">
          <ac:chgData name="Richard Buntrock" userId="1e56b6ab-db35-4ce1-be34-fc2f5138025f" providerId="ADAL" clId="{798DC5F1-A3D0-425E-97D1-4509C15B06D6}" dt="2025-09-26T07:33:34.035" v="881"/>
          <ac:graphicFrameMkLst>
            <pc:docMk/>
            <pc:sldMk cId="2550292683" sldId="262"/>
            <ac:graphicFrameMk id="4" creationId="{8F442F6B-C1D4-2BA7-25DD-04C8FA8EA5F8}"/>
          </ac:graphicFrameMkLst>
        </pc:graphicFrameChg>
        <pc:picChg chg="add del mod">
          <ac:chgData name="Richard Buntrock" userId="1e56b6ab-db35-4ce1-be34-fc2f5138025f" providerId="ADAL" clId="{798DC5F1-A3D0-425E-97D1-4509C15B06D6}" dt="2025-09-26T07:11:46.022" v="205" actId="478"/>
          <ac:picMkLst>
            <pc:docMk/>
            <pc:sldMk cId="2550292683" sldId="262"/>
            <ac:picMk id="1026" creationId="{1629454E-712F-C6C5-BFF0-A5BBB8967469}"/>
          </ac:picMkLst>
        </pc:picChg>
        <pc:picChg chg="add del mod">
          <ac:chgData name="Richard Buntrock" userId="1e56b6ab-db35-4ce1-be34-fc2f5138025f" providerId="ADAL" clId="{798DC5F1-A3D0-425E-97D1-4509C15B06D6}" dt="2025-09-26T07:11:49.783" v="207" actId="478"/>
          <ac:picMkLst>
            <pc:docMk/>
            <pc:sldMk cId="2550292683" sldId="262"/>
            <ac:picMk id="1028" creationId="{721B4CF4-093F-31C2-06F8-F50CC7D6E750}"/>
          </ac:picMkLst>
        </pc:picChg>
        <pc:picChg chg="add del mod">
          <ac:chgData name="Richard Buntrock" userId="1e56b6ab-db35-4ce1-be34-fc2f5138025f" providerId="ADAL" clId="{798DC5F1-A3D0-425E-97D1-4509C15B06D6}" dt="2025-09-26T07:17:45.411" v="210" actId="478"/>
          <ac:picMkLst>
            <pc:docMk/>
            <pc:sldMk cId="2550292683" sldId="262"/>
            <ac:picMk id="1030" creationId="{F32705DF-A536-E25E-9991-49311EAD7B5F}"/>
          </ac:picMkLst>
        </pc:picChg>
        <pc:picChg chg="add del mod">
          <ac:chgData name="Richard Buntrock" userId="1e56b6ab-db35-4ce1-be34-fc2f5138025f" providerId="ADAL" clId="{798DC5F1-A3D0-425E-97D1-4509C15B06D6}" dt="2025-09-26T07:20:04.726" v="213" actId="478"/>
          <ac:picMkLst>
            <pc:docMk/>
            <pc:sldMk cId="2550292683" sldId="262"/>
            <ac:picMk id="1032" creationId="{1A4836B7-AADF-390B-2135-AFC209DB7B59}"/>
          </ac:picMkLst>
        </pc:picChg>
        <pc:picChg chg="add del mod">
          <ac:chgData name="Richard Buntrock" userId="1e56b6ab-db35-4ce1-be34-fc2f5138025f" providerId="ADAL" clId="{798DC5F1-A3D0-425E-97D1-4509C15B06D6}" dt="2025-09-26T07:23:08.807" v="266" actId="478"/>
          <ac:picMkLst>
            <pc:docMk/>
            <pc:sldMk cId="2550292683" sldId="262"/>
            <ac:picMk id="1034" creationId="{2CC44BA5-6E91-CEF8-DBAB-567018264181}"/>
          </ac:picMkLst>
        </pc:picChg>
        <pc:picChg chg="add del mod">
          <ac:chgData name="Richard Buntrock" userId="1e56b6ab-db35-4ce1-be34-fc2f5138025f" providerId="ADAL" clId="{798DC5F1-A3D0-425E-97D1-4509C15B06D6}" dt="2025-09-26T07:29:45.110" v="424" actId="478"/>
          <ac:picMkLst>
            <pc:docMk/>
            <pc:sldMk cId="2550292683" sldId="262"/>
            <ac:picMk id="1036" creationId="{CDE9CFA6-B8D0-B571-CFA7-4E894B5AB870}"/>
          </ac:picMkLst>
        </pc:picChg>
        <pc:picChg chg="add del mod">
          <ac:chgData name="Richard Buntrock" userId="1e56b6ab-db35-4ce1-be34-fc2f5138025f" providerId="ADAL" clId="{798DC5F1-A3D0-425E-97D1-4509C15B06D6}" dt="2025-09-26T07:23:20.655" v="271" actId="478"/>
          <ac:picMkLst>
            <pc:docMk/>
            <pc:sldMk cId="2550292683" sldId="262"/>
            <ac:picMk id="1038" creationId="{93286F30-0899-2BFF-0AF3-66A50BD78444}"/>
          </ac:picMkLst>
        </pc:picChg>
        <pc:picChg chg="add del mod">
          <ac:chgData name="Richard Buntrock" userId="1e56b6ab-db35-4ce1-be34-fc2f5138025f" providerId="ADAL" clId="{798DC5F1-A3D0-425E-97D1-4509C15B06D6}" dt="2025-09-26T07:29:46.689" v="425" actId="478"/>
          <ac:picMkLst>
            <pc:docMk/>
            <pc:sldMk cId="2550292683" sldId="262"/>
            <ac:picMk id="1040" creationId="{0DD2CD84-C0AE-DFBE-184D-C535761D78A3}"/>
          </ac:picMkLst>
        </pc:picChg>
        <pc:picChg chg="add mod">
          <ac:chgData name="Richard Buntrock" userId="1e56b6ab-db35-4ce1-be34-fc2f5138025f" providerId="ADAL" clId="{798DC5F1-A3D0-425E-97D1-4509C15B06D6}" dt="2025-09-26T07:29:48.540" v="427" actId="1076"/>
          <ac:picMkLst>
            <pc:docMk/>
            <pc:sldMk cId="2550292683" sldId="262"/>
            <ac:picMk id="1042" creationId="{DF24C5BC-1913-F338-3910-82F452395876}"/>
          </ac:picMkLst>
        </pc:picChg>
      </pc:sldChg>
      <pc:sldChg chg="addSp delSp modSp new mod ord">
        <pc:chgData name="Richard Buntrock" userId="1e56b6ab-db35-4ce1-be34-fc2f5138025f" providerId="ADAL" clId="{798DC5F1-A3D0-425E-97D1-4509C15B06D6}" dt="2025-09-26T09:33:34.548" v="2667"/>
        <pc:sldMkLst>
          <pc:docMk/>
          <pc:sldMk cId="1488359154" sldId="263"/>
        </pc:sldMkLst>
        <pc:spChg chg="mod">
          <ac:chgData name="Richard Buntrock" userId="1e56b6ab-db35-4ce1-be34-fc2f5138025f" providerId="ADAL" clId="{798DC5F1-A3D0-425E-97D1-4509C15B06D6}" dt="2025-09-26T07:41:27.253" v="944" actId="948"/>
          <ac:spMkLst>
            <pc:docMk/>
            <pc:sldMk cId="1488359154" sldId="263"/>
            <ac:spMk id="2" creationId="{D6DD9B10-D6AA-5402-03F7-426DBC058CC1}"/>
          </ac:spMkLst>
        </pc:spChg>
        <pc:spChg chg="mod">
          <ac:chgData name="Richard Buntrock" userId="1e56b6ab-db35-4ce1-be34-fc2f5138025f" providerId="ADAL" clId="{798DC5F1-A3D0-425E-97D1-4509C15B06D6}" dt="2025-09-26T08:16:57.627" v="1895" actId="21"/>
          <ac:spMkLst>
            <pc:docMk/>
            <pc:sldMk cId="1488359154" sldId="263"/>
            <ac:spMk id="3" creationId="{B1F7799C-7C42-1FEB-1521-A7C2F476CB00}"/>
          </ac:spMkLst>
        </pc:spChg>
        <pc:spChg chg="add del mod modVis">
          <ac:chgData name="Richard Buntrock" userId="1e56b6ab-db35-4ce1-be34-fc2f5138025f" providerId="ADAL" clId="{798DC5F1-A3D0-425E-97D1-4509C15B06D6}" dt="2025-09-26T07:41:25.539" v="922"/>
          <ac:spMkLst>
            <pc:docMk/>
            <pc:sldMk cId="1488359154" sldId="263"/>
            <ac:spMk id="4" creationId="{93460718-752B-7612-A04D-311B80AB0013}"/>
          </ac:spMkLst>
        </pc:spChg>
        <pc:spChg chg="add del mod modVis">
          <ac:chgData name="Richard Buntrock" userId="1e56b6ab-db35-4ce1-be34-fc2f5138025f" providerId="ADAL" clId="{798DC5F1-A3D0-425E-97D1-4509C15B06D6}" dt="2025-09-26T07:41:27.300" v="966"/>
          <ac:spMkLst>
            <pc:docMk/>
            <pc:sldMk cId="1488359154" sldId="263"/>
            <ac:spMk id="6" creationId="{72147A6F-86FE-2B52-06DE-E5F2D0C633B5}"/>
          </ac:spMkLst>
        </pc:spChg>
        <pc:graphicFrameChg chg="add mod ord modVis">
          <ac:chgData name="Richard Buntrock" userId="1e56b6ab-db35-4ce1-be34-fc2f5138025f" providerId="ADAL" clId="{798DC5F1-A3D0-425E-97D1-4509C15B06D6}" dt="2025-09-26T07:41:27.300" v="968"/>
          <ac:graphicFrameMkLst>
            <pc:docMk/>
            <pc:sldMk cId="1488359154" sldId="263"/>
            <ac:graphicFrameMk id="5" creationId="{586D76DD-A2C5-03F6-74C8-A25B9B3CB8EF}"/>
          </ac:graphicFrameMkLst>
        </pc:graphicFrameChg>
        <pc:picChg chg="add mod">
          <ac:chgData name="Richard Buntrock" userId="1e56b6ab-db35-4ce1-be34-fc2f5138025f" providerId="ADAL" clId="{798DC5F1-A3D0-425E-97D1-4509C15B06D6}" dt="2025-09-26T07:41:43.640" v="972" actId="14100"/>
          <ac:picMkLst>
            <pc:docMk/>
            <pc:sldMk cId="1488359154" sldId="263"/>
            <ac:picMk id="2050" creationId="{72349420-AC99-2CE6-BAC3-E8A9AE19B2B9}"/>
          </ac:picMkLst>
        </pc:picChg>
      </pc:sldChg>
      <pc:sldChg chg="addSp delSp modSp new mod">
        <pc:chgData name="Richard Buntrock" userId="1e56b6ab-db35-4ce1-be34-fc2f5138025f" providerId="ADAL" clId="{798DC5F1-A3D0-425E-97D1-4509C15B06D6}" dt="2025-09-26T11:00:23.412" v="3307" actId="14100"/>
        <pc:sldMkLst>
          <pc:docMk/>
          <pc:sldMk cId="3097846677" sldId="264"/>
        </pc:sldMkLst>
        <pc:spChg chg="mod">
          <ac:chgData name="Richard Buntrock" userId="1e56b6ab-db35-4ce1-be34-fc2f5138025f" providerId="ADAL" clId="{798DC5F1-A3D0-425E-97D1-4509C15B06D6}" dt="2025-09-26T08:02:55.879" v="1364" actId="948"/>
          <ac:spMkLst>
            <pc:docMk/>
            <pc:sldMk cId="3097846677" sldId="264"/>
            <ac:spMk id="2" creationId="{D099CD17-F34E-D499-F6D3-49DF710DB147}"/>
          </ac:spMkLst>
        </pc:spChg>
        <pc:spChg chg="mod">
          <ac:chgData name="Richard Buntrock" userId="1e56b6ab-db35-4ce1-be34-fc2f5138025f" providerId="ADAL" clId="{798DC5F1-A3D0-425E-97D1-4509C15B06D6}" dt="2025-09-26T08:12:09.009" v="1860" actId="27636"/>
          <ac:spMkLst>
            <pc:docMk/>
            <pc:sldMk cId="3097846677" sldId="264"/>
            <ac:spMk id="3" creationId="{60E5F3D1-1291-97D2-F698-EAE29C3FB7DB}"/>
          </ac:spMkLst>
        </pc:spChg>
        <pc:spChg chg="add del mod modVis">
          <ac:chgData name="Richard Buntrock" userId="1e56b6ab-db35-4ce1-be34-fc2f5138025f" providerId="ADAL" clId="{798DC5F1-A3D0-425E-97D1-4509C15B06D6}" dt="2025-09-26T07:59:45.933" v="1134"/>
          <ac:spMkLst>
            <pc:docMk/>
            <pc:sldMk cId="3097846677" sldId="264"/>
            <ac:spMk id="5" creationId="{F3AFA9E9-186B-F227-378C-C29DD2BD4EAD}"/>
          </ac:spMkLst>
        </pc:spChg>
        <pc:spChg chg="add del mod modVis">
          <ac:chgData name="Richard Buntrock" userId="1e56b6ab-db35-4ce1-be34-fc2f5138025f" providerId="ADAL" clId="{798DC5F1-A3D0-425E-97D1-4509C15B06D6}" dt="2025-09-26T07:59:48.108" v="1169"/>
          <ac:spMkLst>
            <pc:docMk/>
            <pc:sldMk cId="3097846677" sldId="264"/>
            <ac:spMk id="6" creationId="{5B385A92-8542-C91E-050E-4E5A2ADA3BCD}"/>
          </ac:spMkLst>
        </pc:spChg>
        <pc:spChg chg="add del mod modVis">
          <ac:chgData name="Richard Buntrock" userId="1e56b6ab-db35-4ce1-be34-fc2f5138025f" providerId="ADAL" clId="{798DC5F1-A3D0-425E-97D1-4509C15B06D6}" dt="2025-09-26T07:59:48.879" v="1199"/>
          <ac:spMkLst>
            <pc:docMk/>
            <pc:sldMk cId="3097846677" sldId="264"/>
            <ac:spMk id="7" creationId="{2975D2AD-3728-A45D-7812-89FDA8E1574D}"/>
          </ac:spMkLst>
        </pc:spChg>
        <pc:spChg chg="add del mod modVis">
          <ac:chgData name="Richard Buntrock" userId="1e56b6ab-db35-4ce1-be34-fc2f5138025f" providerId="ADAL" clId="{798DC5F1-A3D0-425E-97D1-4509C15B06D6}" dt="2025-09-26T07:59:49.448" v="1225"/>
          <ac:spMkLst>
            <pc:docMk/>
            <pc:sldMk cId="3097846677" sldId="264"/>
            <ac:spMk id="8" creationId="{85ED78AF-33BD-F511-4C31-FBF5C8722D95}"/>
          </ac:spMkLst>
        </pc:spChg>
        <pc:spChg chg="add del mod modVis">
          <ac:chgData name="Richard Buntrock" userId="1e56b6ab-db35-4ce1-be34-fc2f5138025f" providerId="ADAL" clId="{798DC5F1-A3D0-425E-97D1-4509C15B06D6}" dt="2025-09-26T08:02:49.922" v="1327"/>
          <ac:spMkLst>
            <pc:docMk/>
            <pc:sldMk cId="3097846677" sldId="264"/>
            <ac:spMk id="9" creationId="{8BECD1BC-4D70-730A-80A6-A1ECEE135551}"/>
          </ac:spMkLst>
        </pc:spChg>
        <pc:spChg chg="add del mod modVis">
          <ac:chgData name="Richard Buntrock" userId="1e56b6ab-db35-4ce1-be34-fc2f5138025f" providerId="ADAL" clId="{798DC5F1-A3D0-425E-97D1-4509C15B06D6}" dt="2025-09-26T08:02:52.153" v="1353"/>
          <ac:spMkLst>
            <pc:docMk/>
            <pc:sldMk cId="3097846677" sldId="264"/>
            <ac:spMk id="10" creationId="{E3E3FC30-A8DB-510E-12BD-A579EC40A107}"/>
          </ac:spMkLst>
        </pc:spChg>
        <pc:spChg chg="add del mod modVis">
          <ac:chgData name="Richard Buntrock" userId="1e56b6ab-db35-4ce1-be34-fc2f5138025f" providerId="ADAL" clId="{798DC5F1-A3D0-425E-97D1-4509C15B06D6}" dt="2025-09-26T08:02:55.910" v="1386"/>
          <ac:spMkLst>
            <pc:docMk/>
            <pc:sldMk cId="3097846677" sldId="264"/>
            <ac:spMk id="11" creationId="{4F1164C6-2BF3-D23C-B507-803EA4730EDD}"/>
          </ac:spMkLst>
        </pc:spChg>
        <pc:graphicFrameChg chg="add mod ord modVis">
          <ac:chgData name="Richard Buntrock" userId="1e56b6ab-db35-4ce1-be34-fc2f5138025f" providerId="ADAL" clId="{798DC5F1-A3D0-425E-97D1-4509C15B06D6}" dt="2025-09-26T08:02:55.926" v="1388"/>
          <ac:graphicFrameMkLst>
            <pc:docMk/>
            <pc:sldMk cId="3097846677" sldId="264"/>
            <ac:graphicFrameMk id="4" creationId="{77273AA6-6977-7554-C311-3A25D8498020}"/>
          </ac:graphicFrameMkLst>
        </pc:graphicFrameChg>
        <pc:picChg chg="add mod">
          <ac:chgData name="Richard Buntrock" userId="1e56b6ab-db35-4ce1-be34-fc2f5138025f" providerId="ADAL" clId="{798DC5F1-A3D0-425E-97D1-4509C15B06D6}" dt="2025-09-26T11:00:23.412" v="3307" actId="14100"/>
          <ac:picMkLst>
            <pc:docMk/>
            <pc:sldMk cId="3097846677" sldId="264"/>
            <ac:picMk id="4098" creationId="{683261F2-5BA5-4C91-E7BA-9293418FDF29}"/>
          </ac:picMkLst>
        </pc:picChg>
        <pc:picChg chg="add mod">
          <ac:chgData name="Richard Buntrock" userId="1e56b6ab-db35-4ce1-be34-fc2f5138025f" providerId="ADAL" clId="{798DC5F1-A3D0-425E-97D1-4509C15B06D6}" dt="2025-09-26T11:00:22.352" v="3305" actId="14100"/>
          <ac:picMkLst>
            <pc:docMk/>
            <pc:sldMk cId="3097846677" sldId="264"/>
            <ac:picMk id="4100" creationId="{881B32A6-218A-DF79-1E6C-36EA42840945}"/>
          </ac:picMkLst>
        </pc:picChg>
      </pc:sldChg>
      <pc:sldChg chg="addSp delSp modSp new mod">
        <pc:chgData name="Richard Buntrock" userId="1e56b6ab-db35-4ce1-be34-fc2f5138025f" providerId="ADAL" clId="{798DC5F1-A3D0-425E-97D1-4509C15B06D6}" dt="2025-09-26T12:23:41.061" v="5777" actId="20577"/>
        <pc:sldMkLst>
          <pc:docMk/>
          <pc:sldMk cId="1820553674" sldId="265"/>
        </pc:sldMkLst>
        <pc:spChg chg="mod">
          <ac:chgData name="Richard Buntrock" userId="1e56b6ab-db35-4ce1-be34-fc2f5138025f" providerId="ADAL" clId="{798DC5F1-A3D0-425E-97D1-4509C15B06D6}" dt="2025-09-26T08:01:40.607" v="1241" actId="948"/>
          <ac:spMkLst>
            <pc:docMk/>
            <pc:sldMk cId="1820553674" sldId="265"/>
            <ac:spMk id="2" creationId="{965A76B3-1F24-5B73-B3F9-A5B48F303A25}"/>
          </ac:spMkLst>
        </pc:spChg>
        <pc:spChg chg="mod">
          <ac:chgData name="Richard Buntrock" userId="1e56b6ab-db35-4ce1-be34-fc2f5138025f" providerId="ADAL" clId="{798DC5F1-A3D0-425E-97D1-4509C15B06D6}" dt="2025-09-26T12:23:41.061" v="5777" actId="20577"/>
          <ac:spMkLst>
            <pc:docMk/>
            <pc:sldMk cId="1820553674" sldId="265"/>
            <ac:spMk id="3" creationId="{F847804A-524F-ABDB-FEC7-0437400504CE}"/>
          </ac:spMkLst>
        </pc:spChg>
        <pc:spChg chg="add del mod modVis">
          <ac:chgData name="Richard Buntrock" userId="1e56b6ab-db35-4ce1-be34-fc2f5138025f" providerId="ADAL" clId="{798DC5F1-A3D0-425E-97D1-4509C15B06D6}" dt="2025-09-26T08:01:40.651" v="1263"/>
          <ac:spMkLst>
            <pc:docMk/>
            <pc:sldMk cId="1820553674" sldId="265"/>
            <ac:spMk id="4" creationId="{C442E1F8-F2E1-3B5B-541F-3C7DEB2B0C53}"/>
          </ac:spMkLst>
        </pc:spChg>
        <pc:graphicFrameChg chg="add mod ord modVis">
          <ac:chgData name="Richard Buntrock" userId="1e56b6ab-db35-4ce1-be34-fc2f5138025f" providerId="ADAL" clId="{798DC5F1-A3D0-425E-97D1-4509C15B06D6}" dt="2025-09-26T08:01:40.714" v="1277"/>
          <ac:graphicFrameMkLst>
            <pc:docMk/>
            <pc:sldMk cId="1820553674" sldId="265"/>
            <ac:graphicFrameMk id="5" creationId="{6969685F-03B9-7C9A-3EA5-3E60C46D2C07}"/>
          </ac:graphicFrameMkLst>
        </pc:graphicFrameChg>
      </pc:sldChg>
      <pc:sldChg chg="addSp delSp modSp new mod">
        <pc:chgData name="Richard Buntrock" userId="1e56b6ab-db35-4ce1-be34-fc2f5138025f" providerId="ADAL" clId="{798DC5F1-A3D0-425E-97D1-4509C15B06D6}" dt="2025-09-26T08:14:22.889" v="1886" actId="1076"/>
        <pc:sldMkLst>
          <pc:docMk/>
          <pc:sldMk cId="2661041979" sldId="266"/>
        </pc:sldMkLst>
        <pc:spChg chg="mod">
          <ac:chgData name="Richard Buntrock" userId="1e56b6ab-db35-4ce1-be34-fc2f5138025f" providerId="ADAL" clId="{798DC5F1-A3D0-425E-97D1-4509C15B06D6}" dt="2025-09-26T08:04:32.701" v="1623" actId="948"/>
          <ac:spMkLst>
            <pc:docMk/>
            <pc:sldMk cId="2661041979" sldId="266"/>
            <ac:spMk id="2" creationId="{45CEDE1F-7521-D910-CEFD-DC6658EECD8D}"/>
          </ac:spMkLst>
        </pc:spChg>
        <pc:spChg chg="mod">
          <ac:chgData name="Richard Buntrock" userId="1e56b6ab-db35-4ce1-be34-fc2f5138025f" providerId="ADAL" clId="{798DC5F1-A3D0-425E-97D1-4509C15B06D6}" dt="2025-09-26T08:14:18.988" v="1885" actId="27636"/>
          <ac:spMkLst>
            <pc:docMk/>
            <pc:sldMk cId="2661041979" sldId="266"/>
            <ac:spMk id="3" creationId="{0F11149B-6494-D6DA-8BE0-40CEB1E04CE8}"/>
          </ac:spMkLst>
        </pc:spChg>
        <pc:spChg chg="add del mod modVis">
          <ac:chgData name="Richard Buntrock" userId="1e56b6ab-db35-4ce1-be34-fc2f5138025f" providerId="ADAL" clId="{798DC5F1-A3D0-425E-97D1-4509C15B06D6}" dt="2025-09-26T08:03:04.985" v="1452"/>
          <ac:spMkLst>
            <pc:docMk/>
            <pc:sldMk cId="2661041979" sldId="266"/>
            <ac:spMk id="5" creationId="{55BD17E6-C23A-F49A-4F04-5AEC2732ED76}"/>
          </ac:spMkLst>
        </pc:spChg>
        <pc:spChg chg="add del mod modVis">
          <ac:chgData name="Richard Buntrock" userId="1e56b6ab-db35-4ce1-be34-fc2f5138025f" providerId="ADAL" clId="{798DC5F1-A3D0-425E-97D1-4509C15B06D6}" dt="2025-09-26T08:03:06.693" v="1482"/>
          <ac:spMkLst>
            <pc:docMk/>
            <pc:sldMk cId="2661041979" sldId="266"/>
            <ac:spMk id="6" creationId="{01977468-01A9-3027-0A8C-66F4F9851AFA}"/>
          </ac:spMkLst>
        </pc:spChg>
        <pc:spChg chg="add del mod modVis">
          <ac:chgData name="Richard Buntrock" userId="1e56b6ab-db35-4ce1-be34-fc2f5138025f" providerId="ADAL" clId="{798DC5F1-A3D0-425E-97D1-4509C15B06D6}" dt="2025-09-26T08:03:33.302" v="1523"/>
          <ac:spMkLst>
            <pc:docMk/>
            <pc:sldMk cId="2661041979" sldId="266"/>
            <ac:spMk id="7" creationId="{A201C7CA-6F42-9E1F-31B8-5DC962370EB7}"/>
          </ac:spMkLst>
        </pc:spChg>
        <pc:spChg chg="add del mod modVis">
          <ac:chgData name="Richard Buntrock" userId="1e56b6ab-db35-4ce1-be34-fc2f5138025f" providerId="ADAL" clId="{798DC5F1-A3D0-425E-97D1-4509C15B06D6}" dt="2025-09-26T08:03:36.758" v="1551"/>
          <ac:spMkLst>
            <pc:docMk/>
            <pc:sldMk cId="2661041979" sldId="266"/>
            <ac:spMk id="8" creationId="{4F8FA6C6-FFC1-ECC2-E167-CD5606117296}"/>
          </ac:spMkLst>
        </pc:spChg>
        <pc:spChg chg="add del mod modVis">
          <ac:chgData name="Richard Buntrock" userId="1e56b6ab-db35-4ce1-be34-fc2f5138025f" providerId="ADAL" clId="{798DC5F1-A3D0-425E-97D1-4509C15B06D6}" dt="2025-09-26T08:03:38.311" v="1580"/>
          <ac:spMkLst>
            <pc:docMk/>
            <pc:sldMk cId="2661041979" sldId="266"/>
            <ac:spMk id="9" creationId="{7396CCDC-172E-56B1-B863-E584A688482C}"/>
          </ac:spMkLst>
        </pc:spChg>
        <pc:spChg chg="add del mod modVis">
          <ac:chgData name="Richard Buntrock" userId="1e56b6ab-db35-4ce1-be34-fc2f5138025f" providerId="ADAL" clId="{798DC5F1-A3D0-425E-97D1-4509C15B06D6}" dt="2025-09-26T08:03:40.389" v="1611"/>
          <ac:spMkLst>
            <pc:docMk/>
            <pc:sldMk cId="2661041979" sldId="266"/>
            <ac:spMk id="10" creationId="{CD195EDD-D2F7-6FC3-4FE6-850D8B269A24}"/>
          </ac:spMkLst>
        </pc:spChg>
        <pc:spChg chg="add del mod modVis">
          <ac:chgData name="Richard Buntrock" userId="1e56b6ab-db35-4ce1-be34-fc2f5138025f" providerId="ADAL" clId="{798DC5F1-A3D0-425E-97D1-4509C15B06D6}" dt="2025-09-26T08:04:32.732" v="1645"/>
          <ac:spMkLst>
            <pc:docMk/>
            <pc:sldMk cId="2661041979" sldId="266"/>
            <ac:spMk id="11" creationId="{956DA675-62DB-63CD-7EA3-833BD57EC2FB}"/>
          </ac:spMkLst>
        </pc:spChg>
        <pc:spChg chg="add">
          <ac:chgData name="Richard Buntrock" userId="1e56b6ab-db35-4ce1-be34-fc2f5138025f" providerId="ADAL" clId="{798DC5F1-A3D0-425E-97D1-4509C15B06D6}" dt="2025-09-26T08:13:32.551" v="1872"/>
          <ac:spMkLst>
            <pc:docMk/>
            <pc:sldMk cId="2661041979" sldId="266"/>
            <ac:spMk id="12" creationId="{4D256643-45E4-9D59-F903-33AAE8909D21}"/>
          </ac:spMkLst>
        </pc:spChg>
        <pc:spChg chg="add">
          <ac:chgData name="Richard Buntrock" userId="1e56b6ab-db35-4ce1-be34-fc2f5138025f" providerId="ADAL" clId="{798DC5F1-A3D0-425E-97D1-4509C15B06D6}" dt="2025-09-26T08:13:36.187" v="1875"/>
          <ac:spMkLst>
            <pc:docMk/>
            <pc:sldMk cId="2661041979" sldId="266"/>
            <ac:spMk id="13" creationId="{3D2F0DF8-6AA0-FEB8-655A-CD026A253F40}"/>
          </ac:spMkLst>
        </pc:spChg>
        <pc:spChg chg="add">
          <ac:chgData name="Richard Buntrock" userId="1e56b6ab-db35-4ce1-be34-fc2f5138025f" providerId="ADAL" clId="{798DC5F1-A3D0-425E-97D1-4509C15B06D6}" dt="2025-09-26T08:13:38.832" v="1876"/>
          <ac:spMkLst>
            <pc:docMk/>
            <pc:sldMk cId="2661041979" sldId="266"/>
            <ac:spMk id="14" creationId="{ADBE0BF6-B09F-4976-8ED5-C9FEBC8D7EF9}"/>
          </ac:spMkLst>
        </pc:spChg>
        <pc:graphicFrameChg chg="add mod ord modVis">
          <ac:chgData name="Richard Buntrock" userId="1e56b6ab-db35-4ce1-be34-fc2f5138025f" providerId="ADAL" clId="{798DC5F1-A3D0-425E-97D1-4509C15B06D6}" dt="2025-09-26T08:04:32.732" v="1647"/>
          <ac:graphicFrameMkLst>
            <pc:docMk/>
            <pc:sldMk cId="2661041979" sldId="266"/>
            <ac:graphicFrameMk id="4" creationId="{3F16B87D-FD13-1EB4-DC1C-8413FC882E44}"/>
          </ac:graphicFrameMkLst>
        </pc:graphicFrameChg>
        <pc:picChg chg="add del mod">
          <ac:chgData name="Richard Buntrock" userId="1e56b6ab-db35-4ce1-be34-fc2f5138025f" providerId="ADAL" clId="{798DC5F1-A3D0-425E-97D1-4509C15B06D6}" dt="2025-09-26T08:04:12.513" v="1618" actId="478"/>
          <ac:picMkLst>
            <pc:docMk/>
            <pc:sldMk cId="2661041979" sldId="266"/>
            <ac:picMk id="5122" creationId="{7FAF826F-F195-8E97-2698-C40B7CDD1570}"/>
          </ac:picMkLst>
        </pc:picChg>
        <pc:picChg chg="add mod">
          <ac:chgData name="Richard Buntrock" userId="1e56b6ab-db35-4ce1-be34-fc2f5138025f" providerId="ADAL" clId="{798DC5F1-A3D0-425E-97D1-4509C15B06D6}" dt="2025-09-26T08:14:22.889" v="1886" actId="1076"/>
          <ac:picMkLst>
            <pc:docMk/>
            <pc:sldMk cId="2661041979" sldId="266"/>
            <ac:picMk id="5124" creationId="{CF963BBE-5518-999A-D921-5A8079FA5DD5}"/>
          </ac:picMkLst>
        </pc:picChg>
      </pc:sldChg>
      <pc:sldChg chg="addSp delSp modSp new mod">
        <pc:chgData name="Richard Buntrock" userId="1e56b6ab-db35-4ce1-be34-fc2f5138025f" providerId="ADAL" clId="{798DC5F1-A3D0-425E-97D1-4509C15B06D6}" dt="2025-09-26T09:26:41.394" v="2397" actId="20577"/>
        <pc:sldMkLst>
          <pc:docMk/>
          <pc:sldMk cId="2411908053" sldId="267"/>
        </pc:sldMkLst>
        <pc:spChg chg="mod">
          <ac:chgData name="Richard Buntrock" userId="1e56b6ab-db35-4ce1-be34-fc2f5138025f" providerId="ADAL" clId="{798DC5F1-A3D0-425E-97D1-4509C15B06D6}" dt="2025-09-26T08:21:08.799" v="1971" actId="948"/>
          <ac:spMkLst>
            <pc:docMk/>
            <pc:sldMk cId="2411908053" sldId="267"/>
            <ac:spMk id="2" creationId="{7026B06D-1101-0112-C793-10D27009135F}"/>
          </ac:spMkLst>
        </pc:spChg>
        <pc:spChg chg="mod">
          <ac:chgData name="Richard Buntrock" userId="1e56b6ab-db35-4ce1-be34-fc2f5138025f" providerId="ADAL" clId="{798DC5F1-A3D0-425E-97D1-4509C15B06D6}" dt="2025-09-26T09:26:41.394" v="2397" actId="20577"/>
          <ac:spMkLst>
            <pc:docMk/>
            <pc:sldMk cId="2411908053" sldId="267"/>
            <ac:spMk id="3" creationId="{9C88D6B7-2621-B3D9-60B0-D10908C94CE4}"/>
          </ac:spMkLst>
        </pc:spChg>
        <pc:spChg chg="add del mod modVis">
          <ac:chgData name="Richard Buntrock" userId="1e56b6ab-db35-4ce1-be34-fc2f5138025f" providerId="ADAL" clId="{798DC5F1-A3D0-425E-97D1-4509C15B06D6}" dt="2025-09-26T08:21:05.187" v="1937"/>
          <ac:spMkLst>
            <pc:docMk/>
            <pc:sldMk cId="2411908053" sldId="267"/>
            <ac:spMk id="4" creationId="{214FC511-A1FF-F5F4-0C5F-D27E93713D5C}"/>
          </ac:spMkLst>
        </pc:spChg>
        <pc:spChg chg="add del mod modVis">
          <ac:chgData name="Richard Buntrock" userId="1e56b6ab-db35-4ce1-be34-fc2f5138025f" providerId="ADAL" clId="{798DC5F1-A3D0-425E-97D1-4509C15B06D6}" dt="2025-09-26T08:21:08.832" v="1993"/>
          <ac:spMkLst>
            <pc:docMk/>
            <pc:sldMk cId="2411908053" sldId="267"/>
            <ac:spMk id="6" creationId="{49467179-B714-7F41-209E-CC304455B156}"/>
          </ac:spMkLst>
        </pc:spChg>
        <pc:graphicFrameChg chg="add mod ord modVis">
          <ac:chgData name="Richard Buntrock" userId="1e56b6ab-db35-4ce1-be34-fc2f5138025f" providerId="ADAL" clId="{798DC5F1-A3D0-425E-97D1-4509C15B06D6}" dt="2025-09-26T08:21:08.845" v="1995"/>
          <ac:graphicFrameMkLst>
            <pc:docMk/>
            <pc:sldMk cId="2411908053" sldId="267"/>
            <ac:graphicFrameMk id="5" creationId="{23C62302-30E2-447D-48D4-0E34B1DBBB5F}"/>
          </ac:graphicFrameMkLst>
        </pc:graphicFrameChg>
        <pc:picChg chg="add del mod">
          <ac:chgData name="Richard Buntrock" userId="1e56b6ab-db35-4ce1-be34-fc2f5138025f" providerId="ADAL" clId="{798DC5F1-A3D0-425E-97D1-4509C15B06D6}" dt="2025-09-26T08:32:59.882" v="2013" actId="478"/>
          <ac:picMkLst>
            <pc:docMk/>
            <pc:sldMk cId="2411908053" sldId="267"/>
            <ac:picMk id="6146" creationId="{3F43A7E7-C57A-BC7A-19EF-23679206FECD}"/>
          </ac:picMkLst>
        </pc:picChg>
        <pc:picChg chg="add del mod">
          <ac:chgData name="Richard Buntrock" userId="1e56b6ab-db35-4ce1-be34-fc2f5138025f" providerId="ADAL" clId="{798DC5F1-A3D0-425E-97D1-4509C15B06D6}" dt="2025-09-26T08:32:11.067" v="2008" actId="478"/>
          <ac:picMkLst>
            <pc:docMk/>
            <pc:sldMk cId="2411908053" sldId="267"/>
            <ac:picMk id="6148" creationId="{EA6D01C9-A259-4E86-75DB-E368FB69EB02}"/>
          </ac:picMkLst>
        </pc:picChg>
        <pc:picChg chg="add mod">
          <ac:chgData name="Richard Buntrock" userId="1e56b6ab-db35-4ce1-be34-fc2f5138025f" providerId="ADAL" clId="{798DC5F1-A3D0-425E-97D1-4509C15B06D6}" dt="2025-09-26T09:00:09.976" v="2189" actId="1076"/>
          <ac:picMkLst>
            <pc:docMk/>
            <pc:sldMk cId="2411908053" sldId="267"/>
            <ac:picMk id="6150" creationId="{FE018B4C-9193-A9F3-61C3-8474A938A9C8}"/>
          </ac:picMkLst>
        </pc:picChg>
        <pc:picChg chg="add mod">
          <ac:chgData name="Richard Buntrock" userId="1e56b6ab-db35-4ce1-be34-fc2f5138025f" providerId="ADAL" clId="{798DC5F1-A3D0-425E-97D1-4509C15B06D6}" dt="2025-09-26T09:00:17.523" v="2193" actId="1076"/>
          <ac:picMkLst>
            <pc:docMk/>
            <pc:sldMk cId="2411908053" sldId="267"/>
            <ac:picMk id="6152" creationId="{7BBF21E5-1327-5235-5CD0-0A7C077D1551}"/>
          </ac:picMkLst>
        </pc:picChg>
      </pc:sldChg>
      <pc:sldChg chg="addSp delSp modSp new mod">
        <pc:chgData name="Richard Buntrock" userId="1e56b6ab-db35-4ce1-be34-fc2f5138025f" providerId="ADAL" clId="{798DC5F1-A3D0-425E-97D1-4509C15B06D6}" dt="2025-09-26T09:44:41.859" v="2932" actId="27636"/>
        <pc:sldMkLst>
          <pc:docMk/>
          <pc:sldMk cId="2324054950" sldId="268"/>
        </pc:sldMkLst>
        <pc:spChg chg="mod">
          <ac:chgData name="Richard Buntrock" userId="1e56b6ab-db35-4ce1-be34-fc2f5138025f" providerId="ADAL" clId="{798DC5F1-A3D0-425E-97D1-4509C15B06D6}" dt="2025-09-26T09:11:59.651" v="2231" actId="948"/>
          <ac:spMkLst>
            <pc:docMk/>
            <pc:sldMk cId="2324054950" sldId="268"/>
            <ac:spMk id="2" creationId="{08486985-7E6E-5271-4E0D-675687EC485D}"/>
          </ac:spMkLst>
        </pc:spChg>
        <pc:spChg chg="add del mod">
          <ac:chgData name="Richard Buntrock" userId="1e56b6ab-db35-4ce1-be34-fc2f5138025f" providerId="ADAL" clId="{798DC5F1-A3D0-425E-97D1-4509C15B06D6}" dt="2025-09-26T09:44:41.859" v="2932" actId="27636"/>
          <ac:spMkLst>
            <pc:docMk/>
            <pc:sldMk cId="2324054950" sldId="268"/>
            <ac:spMk id="3" creationId="{4059122C-771B-D248-3C13-1F84BDA828DD}"/>
          </ac:spMkLst>
        </pc:spChg>
        <pc:spChg chg="add del mod modVis">
          <ac:chgData name="Richard Buntrock" userId="1e56b6ab-db35-4ce1-be34-fc2f5138025f" providerId="ADAL" clId="{798DC5F1-A3D0-425E-97D1-4509C15B06D6}" dt="2025-09-26T09:11:59.683" v="2253"/>
          <ac:spMkLst>
            <pc:docMk/>
            <pc:sldMk cId="2324054950" sldId="268"/>
            <ac:spMk id="5" creationId="{A2ACF207-CFC6-D0B7-845C-3D3D5F54AC35}"/>
          </ac:spMkLst>
        </pc:spChg>
        <pc:spChg chg="add del">
          <ac:chgData name="Richard Buntrock" userId="1e56b6ab-db35-4ce1-be34-fc2f5138025f" providerId="ADAL" clId="{798DC5F1-A3D0-425E-97D1-4509C15B06D6}" dt="2025-09-26T09:12:38.899" v="2277" actId="22"/>
          <ac:spMkLst>
            <pc:docMk/>
            <pc:sldMk cId="2324054950" sldId="268"/>
            <ac:spMk id="10" creationId="{A4289CB8-976A-C126-9D81-0F0A70D9FCED}"/>
          </ac:spMkLst>
        </pc:spChg>
        <pc:graphicFrameChg chg="add mod ord modVis">
          <ac:chgData name="Richard Buntrock" userId="1e56b6ab-db35-4ce1-be34-fc2f5138025f" providerId="ADAL" clId="{798DC5F1-A3D0-425E-97D1-4509C15B06D6}" dt="2025-09-26T09:11:59.699" v="2255"/>
          <ac:graphicFrameMkLst>
            <pc:docMk/>
            <pc:sldMk cId="2324054950" sldId="268"/>
            <ac:graphicFrameMk id="4" creationId="{6E9C1923-7C8B-EF3B-F1E8-1110ED227E94}"/>
          </ac:graphicFrameMkLst>
        </pc:graphicFrameChg>
        <pc:graphicFrameChg chg="add mod modGraphic">
          <ac:chgData name="Richard Buntrock" userId="1e56b6ab-db35-4ce1-be34-fc2f5138025f" providerId="ADAL" clId="{798DC5F1-A3D0-425E-97D1-4509C15B06D6}" dt="2025-09-26T09:12:29.906" v="2270"/>
          <ac:graphicFrameMkLst>
            <pc:docMk/>
            <pc:sldMk cId="2324054950" sldId="268"/>
            <ac:graphicFrameMk id="6" creationId="{617E37D1-81EC-DD51-CE84-428D10EC0438}"/>
          </ac:graphicFrameMkLst>
        </pc:graphicFrameChg>
        <pc:graphicFrameChg chg="add mod">
          <ac:chgData name="Richard Buntrock" userId="1e56b6ab-db35-4ce1-be34-fc2f5138025f" providerId="ADAL" clId="{798DC5F1-A3D0-425E-97D1-4509C15B06D6}" dt="2025-09-26T09:12:32.005" v="2272"/>
          <ac:graphicFrameMkLst>
            <pc:docMk/>
            <pc:sldMk cId="2324054950" sldId="268"/>
            <ac:graphicFrameMk id="7" creationId="{B59680B4-CFF2-C807-5A8A-1056FB4DA8C7}"/>
          </ac:graphicFrameMkLst>
        </pc:graphicFrameChg>
        <pc:graphicFrameChg chg="add mod">
          <ac:chgData name="Richard Buntrock" userId="1e56b6ab-db35-4ce1-be34-fc2f5138025f" providerId="ADAL" clId="{798DC5F1-A3D0-425E-97D1-4509C15B06D6}" dt="2025-09-26T09:12:35.724" v="2274"/>
          <ac:graphicFrameMkLst>
            <pc:docMk/>
            <pc:sldMk cId="2324054950" sldId="268"/>
            <ac:graphicFrameMk id="8" creationId="{A01C9B75-C1B7-5786-26EE-848E0CAE14EF}"/>
          </ac:graphicFrameMkLst>
        </pc:graphicFrameChg>
        <pc:picChg chg="add mod">
          <ac:chgData name="Richard Buntrock" userId="1e56b6ab-db35-4ce1-be34-fc2f5138025f" providerId="ADAL" clId="{798DC5F1-A3D0-425E-97D1-4509C15B06D6}" dt="2025-09-26T09:12:03.657" v="2257"/>
          <ac:picMkLst>
            <pc:docMk/>
            <pc:sldMk cId="2324054950" sldId="268"/>
            <ac:picMk id="7170" creationId="{E956940B-484C-59A7-EE79-3E74554161A0}"/>
          </ac:picMkLst>
        </pc:picChg>
        <pc:picChg chg="add mod">
          <ac:chgData name="Richard Buntrock" userId="1e56b6ab-db35-4ce1-be34-fc2f5138025f" providerId="ADAL" clId="{798DC5F1-A3D0-425E-97D1-4509C15B06D6}" dt="2025-09-26T09:28:56.336" v="2399" actId="1076"/>
          <ac:picMkLst>
            <pc:docMk/>
            <pc:sldMk cId="2324054950" sldId="268"/>
            <ac:picMk id="7172" creationId="{F1E02E08-1A2F-CE30-251D-FFC5C80C699C}"/>
          </ac:picMkLst>
        </pc:picChg>
        <pc:picChg chg="add mod">
          <ac:chgData name="Richard Buntrock" userId="1e56b6ab-db35-4ce1-be34-fc2f5138025f" providerId="ADAL" clId="{798DC5F1-A3D0-425E-97D1-4509C15B06D6}" dt="2025-09-26T09:29:06.170" v="2403" actId="1076"/>
          <ac:picMkLst>
            <pc:docMk/>
            <pc:sldMk cId="2324054950" sldId="268"/>
            <ac:picMk id="7174" creationId="{5FE7BBDD-C933-C7CD-93C4-039103CBED06}"/>
          </ac:picMkLst>
        </pc:picChg>
      </pc:sldChg>
      <pc:sldChg chg="addSp delSp modSp new mod ord">
        <pc:chgData name="Richard Buntrock" userId="1e56b6ab-db35-4ce1-be34-fc2f5138025f" providerId="ADAL" clId="{798DC5F1-A3D0-425E-97D1-4509C15B06D6}" dt="2025-09-26T11:45:21.805" v="4886" actId="1076"/>
        <pc:sldMkLst>
          <pc:docMk/>
          <pc:sldMk cId="3533797009" sldId="269"/>
        </pc:sldMkLst>
        <pc:spChg chg="mod">
          <ac:chgData name="Richard Buntrock" userId="1e56b6ab-db35-4ce1-be34-fc2f5138025f" providerId="ADAL" clId="{798DC5F1-A3D0-425E-97D1-4509C15B06D6}" dt="2025-09-26T10:13:17.324" v="3228" actId="948"/>
          <ac:spMkLst>
            <pc:docMk/>
            <pc:sldMk cId="3533797009" sldId="269"/>
            <ac:spMk id="2" creationId="{CB71800B-68B1-4CDD-3A04-435CCB20301E}"/>
          </ac:spMkLst>
        </pc:spChg>
        <pc:spChg chg="del">
          <ac:chgData name="Richard Buntrock" userId="1e56b6ab-db35-4ce1-be34-fc2f5138025f" providerId="ADAL" clId="{798DC5F1-A3D0-425E-97D1-4509C15B06D6}" dt="2025-09-26T10:13:12.918" v="3209"/>
          <ac:spMkLst>
            <pc:docMk/>
            <pc:sldMk cId="3533797009" sldId="269"/>
            <ac:spMk id="3" creationId="{D8A2D399-110C-D5A9-9DA2-A357A4D8D0E2}"/>
          </ac:spMkLst>
        </pc:spChg>
        <pc:spChg chg="add del mod modVis">
          <ac:chgData name="Richard Buntrock" userId="1e56b6ab-db35-4ce1-be34-fc2f5138025f" providerId="ADAL" clId="{798DC5F1-A3D0-425E-97D1-4509C15B06D6}" dt="2025-09-26T10:13:17.355" v="3250"/>
          <ac:spMkLst>
            <pc:docMk/>
            <pc:sldMk cId="3533797009" sldId="269"/>
            <ac:spMk id="6" creationId="{7E656A0D-686F-5885-AF03-E901CE5A9B76}"/>
          </ac:spMkLst>
        </pc:spChg>
        <pc:spChg chg="add del mod">
          <ac:chgData name="Richard Buntrock" userId="1e56b6ab-db35-4ce1-be34-fc2f5138025f" providerId="ADAL" clId="{798DC5F1-A3D0-425E-97D1-4509C15B06D6}" dt="2025-09-26T11:45:14.924" v="4885" actId="478"/>
          <ac:spMkLst>
            <pc:docMk/>
            <pc:sldMk cId="3533797009" sldId="269"/>
            <ac:spMk id="10" creationId="{154C0887-2237-1905-534B-CDF633F2AAF6}"/>
          </ac:spMkLst>
        </pc:spChg>
        <pc:graphicFrameChg chg="add mod ord modVis">
          <ac:chgData name="Richard Buntrock" userId="1e56b6ab-db35-4ce1-be34-fc2f5138025f" providerId="ADAL" clId="{798DC5F1-A3D0-425E-97D1-4509C15B06D6}" dt="2025-09-26T10:13:17.402" v="3264"/>
          <ac:graphicFrameMkLst>
            <pc:docMk/>
            <pc:sldMk cId="3533797009" sldId="269"/>
            <ac:graphicFrameMk id="7" creationId="{EC53BB02-C7C1-C941-677B-0E5A077AB675}"/>
          </ac:graphicFrameMkLst>
        </pc:graphicFrameChg>
        <pc:graphicFrameChg chg="add mod modGraphic">
          <ac:chgData name="Richard Buntrock" userId="1e56b6ab-db35-4ce1-be34-fc2f5138025f" providerId="ADAL" clId="{798DC5F1-A3D0-425E-97D1-4509C15B06D6}" dt="2025-09-26T11:45:21.805" v="4886" actId="1076"/>
          <ac:graphicFrameMkLst>
            <pc:docMk/>
            <pc:sldMk cId="3533797009" sldId="269"/>
            <ac:graphicFrameMk id="8" creationId="{D77B0080-0EE8-9BF0-A6D9-69ED6421721F}"/>
          </ac:graphicFrameMkLst>
        </pc:graphicFrameChg>
        <pc:picChg chg="add del mod">
          <ac:chgData name="Richard Buntrock" userId="1e56b6ab-db35-4ce1-be34-fc2f5138025f" providerId="ADAL" clId="{798DC5F1-A3D0-425E-97D1-4509C15B06D6}" dt="2025-09-26T11:44:30.886" v="4877" actId="478"/>
          <ac:picMkLst>
            <pc:docMk/>
            <pc:sldMk cId="3533797009" sldId="269"/>
            <ac:picMk id="5" creationId="{A06AE0BA-50C5-049E-11C9-FD2D7F9E6466}"/>
          </ac:picMkLst>
        </pc:picChg>
      </pc:sldChg>
      <pc:sldChg chg="addSp modSp new mod">
        <pc:chgData name="Richard Buntrock" userId="1e56b6ab-db35-4ce1-be34-fc2f5138025f" providerId="ADAL" clId="{798DC5F1-A3D0-425E-97D1-4509C15B06D6}" dt="2025-09-26T12:26:37.697" v="6231" actId="20577"/>
        <pc:sldMkLst>
          <pc:docMk/>
          <pc:sldMk cId="763574856" sldId="270"/>
        </pc:sldMkLst>
        <pc:spChg chg="mod">
          <ac:chgData name="Richard Buntrock" userId="1e56b6ab-db35-4ce1-be34-fc2f5138025f" providerId="ADAL" clId="{798DC5F1-A3D0-425E-97D1-4509C15B06D6}" dt="2025-09-26T10:18:53.980" v="3296" actId="948"/>
          <ac:spMkLst>
            <pc:docMk/>
            <pc:sldMk cId="763574856" sldId="270"/>
            <ac:spMk id="2" creationId="{7DAF62C7-C014-9093-7CD4-EF04C8393D45}"/>
          </ac:spMkLst>
        </pc:spChg>
        <pc:spChg chg="mod">
          <ac:chgData name="Richard Buntrock" userId="1e56b6ab-db35-4ce1-be34-fc2f5138025f" providerId="ADAL" clId="{798DC5F1-A3D0-425E-97D1-4509C15B06D6}" dt="2025-09-26T12:26:37.697" v="6231" actId="20577"/>
          <ac:spMkLst>
            <pc:docMk/>
            <pc:sldMk cId="763574856" sldId="270"/>
            <ac:spMk id="3" creationId="{FB2FC79C-302E-09F2-5ACF-1C27A71C6216}"/>
          </ac:spMkLst>
        </pc:spChg>
        <pc:graphicFrameChg chg="add mod ord modVis">
          <ac:chgData name="Richard Buntrock" userId="1e56b6ab-db35-4ce1-be34-fc2f5138025f" providerId="ADAL" clId="{798DC5F1-A3D0-425E-97D1-4509C15B06D6}" dt="2025-09-26T10:18:53.996" v="3298"/>
          <ac:graphicFrameMkLst>
            <pc:docMk/>
            <pc:sldMk cId="763574856" sldId="270"/>
            <ac:graphicFrameMk id="4" creationId="{2E930CEF-0EE8-6DB6-04C6-525311B01707}"/>
          </ac:graphicFrameMkLst>
        </pc:graphicFrameChg>
      </pc:sldChg>
      <pc:sldChg chg="addSp delSp modSp new mod ord">
        <pc:chgData name="Richard Buntrock" userId="1e56b6ab-db35-4ce1-be34-fc2f5138025f" providerId="ADAL" clId="{798DC5F1-A3D0-425E-97D1-4509C15B06D6}" dt="2025-09-26T11:03:55.603" v="3714" actId="20577"/>
        <pc:sldMkLst>
          <pc:docMk/>
          <pc:sldMk cId="1185603794" sldId="271"/>
        </pc:sldMkLst>
        <pc:spChg chg="mod">
          <ac:chgData name="Richard Buntrock" userId="1e56b6ab-db35-4ce1-be34-fc2f5138025f" providerId="ADAL" clId="{798DC5F1-A3D0-425E-97D1-4509C15B06D6}" dt="2025-09-26T11:01:36.010" v="3372" actId="948"/>
          <ac:spMkLst>
            <pc:docMk/>
            <pc:sldMk cId="1185603794" sldId="271"/>
            <ac:spMk id="2" creationId="{58B66CFF-D36F-7AEF-5949-3A73D50C0BF6}"/>
          </ac:spMkLst>
        </pc:spChg>
        <pc:spChg chg="mod">
          <ac:chgData name="Richard Buntrock" userId="1e56b6ab-db35-4ce1-be34-fc2f5138025f" providerId="ADAL" clId="{798DC5F1-A3D0-425E-97D1-4509C15B06D6}" dt="2025-09-26T11:03:55.603" v="3714" actId="20577"/>
          <ac:spMkLst>
            <pc:docMk/>
            <pc:sldMk cId="1185603794" sldId="271"/>
            <ac:spMk id="3" creationId="{C1B2C212-D6D4-3573-356F-92B7139165CA}"/>
          </ac:spMkLst>
        </pc:spChg>
        <pc:spChg chg="add del mod modVis">
          <ac:chgData name="Richard Buntrock" userId="1e56b6ab-db35-4ce1-be34-fc2f5138025f" providerId="ADAL" clId="{798DC5F1-A3D0-425E-97D1-4509C15B06D6}" dt="2025-09-26T11:01:05.009" v="3346"/>
          <ac:spMkLst>
            <pc:docMk/>
            <pc:sldMk cId="1185603794" sldId="271"/>
            <ac:spMk id="4" creationId="{B9BEA58A-0BDA-9381-E58A-34A3A17B6CAE}"/>
          </ac:spMkLst>
        </pc:spChg>
        <pc:spChg chg="add del mod modVis">
          <ac:chgData name="Richard Buntrock" userId="1e56b6ab-db35-4ce1-be34-fc2f5138025f" providerId="ADAL" clId="{798DC5F1-A3D0-425E-97D1-4509C15B06D6}" dt="2025-09-26T11:01:36.053" v="3394"/>
          <ac:spMkLst>
            <pc:docMk/>
            <pc:sldMk cId="1185603794" sldId="271"/>
            <ac:spMk id="6" creationId="{34F37E9E-3EED-C276-D1A2-527B3378EBCA}"/>
          </ac:spMkLst>
        </pc:spChg>
        <pc:graphicFrameChg chg="add mod ord modVis">
          <ac:chgData name="Richard Buntrock" userId="1e56b6ab-db35-4ce1-be34-fc2f5138025f" providerId="ADAL" clId="{798DC5F1-A3D0-425E-97D1-4509C15B06D6}" dt="2025-09-26T11:01:36.055" v="3396"/>
          <ac:graphicFrameMkLst>
            <pc:docMk/>
            <pc:sldMk cId="1185603794" sldId="271"/>
            <ac:graphicFrameMk id="5" creationId="{3186FE7E-1266-87AC-2EA0-C998C55D4D80}"/>
          </ac:graphicFrameMkLst>
        </pc:graphicFrameChg>
        <pc:picChg chg="add mod">
          <ac:chgData name="Richard Buntrock" userId="1e56b6ab-db35-4ce1-be34-fc2f5138025f" providerId="ADAL" clId="{798DC5F1-A3D0-425E-97D1-4509C15B06D6}" dt="2025-09-26T11:00:57.036" v="3322" actId="1076"/>
          <ac:picMkLst>
            <pc:docMk/>
            <pc:sldMk cId="1185603794" sldId="271"/>
            <ac:picMk id="9218" creationId="{63FC64B7-F0C0-3A2F-BE0D-46DF24768920}"/>
          </ac:picMkLst>
        </pc:picChg>
      </pc:sldChg>
      <pc:sldChg chg="addSp delSp modSp new mod">
        <pc:chgData name="Richard Buntrock" userId="1e56b6ab-db35-4ce1-be34-fc2f5138025f" providerId="ADAL" clId="{798DC5F1-A3D0-425E-97D1-4509C15B06D6}" dt="2025-09-26T11:29:01.512" v="4296" actId="1076"/>
        <pc:sldMkLst>
          <pc:docMk/>
          <pc:sldMk cId="3695967228" sldId="272"/>
        </pc:sldMkLst>
        <pc:spChg chg="mod">
          <ac:chgData name="Richard Buntrock" userId="1e56b6ab-db35-4ce1-be34-fc2f5138025f" providerId="ADAL" clId="{798DC5F1-A3D0-425E-97D1-4509C15B06D6}" dt="2025-09-26T11:24:32.302" v="3881" actId="948"/>
          <ac:spMkLst>
            <pc:docMk/>
            <pc:sldMk cId="3695967228" sldId="272"/>
            <ac:spMk id="2" creationId="{96DFA657-9CE2-687F-19F6-E2FAA59C0BA3}"/>
          </ac:spMkLst>
        </pc:spChg>
        <pc:spChg chg="add del mod">
          <ac:chgData name="Richard Buntrock" userId="1e56b6ab-db35-4ce1-be34-fc2f5138025f" providerId="ADAL" clId="{798DC5F1-A3D0-425E-97D1-4509C15B06D6}" dt="2025-09-26T11:28:48.765" v="4295" actId="20577"/>
          <ac:spMkLst>
            <pc:docMk/>
            <pc:sldMk cId="3695967228" sldId="272"/>
            <ac:spMk id="3" creationId="{90F0B7AA-86CC-7D7F-4836-BBC583FA614A}"/>
          </ac:spMkLst>
        </pc:spChg>
        <pc:spChg chg="add del mod modVis">
          <ac:chgData name="Richard Buntrock" userId="1e56b6ab-db35-4ce1-be34-fc2f5138025f" providerId="ADAL" clId="{798DC5F1-A3D0-425E-97D1-4509C15B06D6}" dt="2025-09-26T11:22:41.288" v="3749"/>
          <ac:spMkLst>
            <pc:docMk/>
            <pc:sldMk cId="3695967228" sldId="272"/>
            <ac:spMk id="4" creationId="{798A97F1-E98D-A069-0FFC-270A9A148094}"/>
          </ac:spMkLst>
        </pc:spChg>
        <pc:spChg chg="add del mod modVis">
          <ac:chgData name="Richard Buntrock" userId="1e56b6ab-db35-4ce1-be34-fc2f5138025f" providerId="ADAL" clId="{798DC5F1-A3D0-425E-97D1-4509C15B06D6}" dt="2025-09-26T11:22:41.903" v="3787"/>
          <ac:spMkLst>
            <pc:docMk/>
            <pc:sldMk cId="3695967228" sldId="272"/>
            <ac:spMk id="6" creationId="{8A611932-9EF1-944B-9276-AC333D9F5974}"/>
          </ac:spMkLst>
        </pc:spChg>
        <pc:spChg chg="add del mod modVis">
          <ac:chgData name="Richard Buntrock" userId="1e56b6ab-db35-4ce1-be34-fc2f5138025f" providerId="ADAL" clId="{798DC5F1-A3D0-425E-97D1-4509C15B06D6}" dt="2025-09-26T11:22:43.058" v="3819"/>
          <ac:spMkLst>
            <pc:docMk/>
            <pc:sldMk cId="3695967228" sldId="272"/>
            <ac:spMk id="7" creationId="{E65DB966-60B3-7536-E8DB-68BDEB35435A}"/>
          </ac:spMkLst>
        </pc:spChg>
        <pc:spChg chg="add del mod modVis">
          <ac:chgData name="Richard Buntrock" userId="1e56b6ab-db35-4ce1-be34-fc2f5138025f" providerId="ADAL" clId="{798DC5F1-A3D0-425E-97D1-4509C15B06D6}" dt="2025-09-26T11:22:45.018" v="3853"/>
          <ac:spMkLst>
            <pc:docMk/>
            <pc:sldMk cId="3695967228" sldId="272"/>
            <ac:spMk id="8" creationId="{76403456-2586-14F9-E7E4-8A630A69274E}"/>
          </ac:spMkLst>
        </pc:spChg>
        <pc:spChg chg="add del mod modVis">
          <ac:chgData name="Richard Buntrock" userId="1e56b6ab-db35-4ce1-be34-fc2f5138025f" providerId="ADAL" clId="{798DC5F1-A3D0-425E-97D1-4509C15B06D6}" dt="2025-09-26T11:24:32.333" v="3903"/>
          <ac:spMkLst>
            <pc:docMk/>
            <pc:sldMk cId="3695967228" sldId="272"/>
            <ac:spMk id="9" creationId="{80D09388-836D-DAA0-2A7F-95D932F25573}"/>
          </ac:spMkLst>
        </pc:spChg>
        <pc:graphicFrameChg chg="add mod ord modVis">
          <ac:chgData name="Richard Buntrock" userId="1e56b6ab-db35-4ce1-be34-fc2f5138025f" providerId="ADAL" clId="{798DC5F1-A3D0-425E-97D1-4509C15B06D6}" dt="2025-09-26T11:24:32.334" v="3905"/>
          <ac:graphicFrameMkLst>
            <pc:docMk/>
            <pc:sldMk cId="3695967228" sldId="272"/>
            <ac:graphicFrameMk id="5" creationId="{2F5C3877-4200-20A3-F0D2-B593CA0308D6}"/>
          </ac:graphicFrameMkLst>
        </pc:graphicFrameChg>
        <pc:picChg chg="add mod">
          <ac:chgData name="Richard Buntrock" userId="1e56b6ab-db35-4ce1-be34-fc2f5138025f" providerId="ADAL" clId="{798DC5F1-A3D0-425E-97D1-4509C15B06D6}" dt="2025-09-26T11:25:35.683" v="3908"/>
          <ac:picMkLst>
            <pc:docMk/>
            <pc:sldMk cId="3695967228" sldId="272"/>
            <ac:picMk id="11" creationId="{0305E9B0-3D12-1D26-AE7F-1EDDCC418F7B}"/>
          </ac:picMkLst>
        </pc:picChg>
        <pc:picChg chg="add mod">
          <ac:chgData name="Richard Buntrock" userId="1e56b6ab-db35-4ce1-be34-fc2f5138025f" providerId="ADAL" clId="{798DC5F1-A3D0-425E-97D1-4509C15B06D6}" dt="2025-09-26T11:25:42.168" v="3912"/>
          <ac:picMkLst>
            <pc:docMk/>
            <pc:sldMk cId="3695967228" sldId="272"/>
            <ac:picMk id="13" creationId="{993B4437-4109-DABA-4198-6B9C4AB63DC9}"/>
          </ac:picMkLst>
        </pc:picChg>
        <pc:picChg chg="add del mod">
          <ac:chgData name="Richard Buntrock" userId="1e56b6ab-db35-4ce1-be34-fc2f5138025f" providerId="ADAL" clId="{798DC5F1-A3D0-425E-97D1-4509C15B06D6}" dt="2025-09-26T11:27:55.165" v="4167" actId="478"/>
          <ac:picMkLst>
            <pc:docMk/>
            <pc:sldMk cId="3695967228" sldId="272"/>
            <ac:picMk id="14" creationId="{C115921D-AE22-0567-FFD2-E15EF0BD9B4C}"/>
          </ac:picMkLst>
        </pc:picChg>
        <pc:picChg chg="add del mod">
          <ac:chgData name="Richard Buntrock" userId="1e56b6ab-db35-4ce1-be34-fc2f5138025f" providerId="ADAL" clId="{798DC5F1-A3D0-425E-97D1-4509C15B06D6}" dt="2025-09-26T11:23:34.212" v="3861" actId="478"/>
          <ac:picMkLst>
            <pc:docMk/>
            <pc:sldMk cId="3695967228" sldId="272"/>
            <ac:picMk id="10242" creationId="{58707A55-571B-3605-36B8-6A35577A5E79}"/>
          </ac:picMkLst>
        </pc:picChg>
        <pc:picChg chg="add del mod">
          <ac:chgData name="Richard Buntrock" userId="1e56b6ab-db35-4ce1-be34-fc2f5138025f" providerId="ADAL" clId="{798DC5F1-A3D0-425E-97D1-4509C15B06D6}" dt="2025-09-26T11:23:40.828" v="3865" actId="478"/>
          <ac:picMkLst>
            <pc:docMk/>
            <pc:sldMk cId="3695967228" sldId="272"/>
            <ac:picMk id="10244" creationId="{F3E9FF4D-865F-6BE8-CC84-177C1E6D0DA4}"/>
          </ac:picMkLst>
        </pc:picChg>
        <pc:picChg chg="add mod">
          <ac:chgData name="Richard Buntrock" userId="1e56b6ab-db35-4ce1-be34-fc2f5138025f" providerId="ADAL" clId="{798DC5F1-A3D0-425E-97D1-4509C15B06D6}" dt="2025-09-26T11:29:01.512" v="4296" actId="1076"/>
          <ac:picMkLst>
            <pc:docMk/>
            <pc:sldMk cId="3695967228" sldId="272"/>
            <ac:picMk id="10246" creationId="{FC8C5ED9-8CED-EE12-68A8-4741CE1D02F2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8FB95C-3BED-46F4-9658-C38B05E07E18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9AAC569-A4CE-43DD-81E2-1E49E009CDE7}">
      <dgm:prSet phldrT="[Text]"/>
      <dgm:spPr/>
      <dgm:t>
        <a:bodyPr/>
        <a:lstStyle/>
        <a:p>
          <a:r>
            <a:rPr lang="de-DE" dirty="0" err="1"/>
            <a:t>Understand</a:t>
          </a:r>
          <a:r>
            <a:rPr lang="de-DE" dirty="0"/>
            <a:t> </a:t>
          </a:r>
          <a:r>
            <a:rPr lang="de-DE" dirty="0" err="1"/>
            <a:t>business</a:t>
          </a:r>
          <a:r>
            <a:rPr lang="de-DE" dirty="0"/>
            <a:t> </a:t>
          </a:r>
          <a:r>
            <a:rPr lang="de-DE" dirty="0" err="1"/>
            <a:t>problem</a:t>
          </a:r>
          <a:r>
            <a:rPr lang="de-DE" dirty="0"/>
            <a:t> and </a:t>
          </a:r>
          <a:r>
            <a:rPr lang="de-DE" dirty="0" err="1"/>
            <a:t>objective</a:t>
          </a:r>
          <a:endParaRPr lang="de-DE" dirty="0"/>
        </a:p>
      </dgm:t>
    </dgm:pt>
    <dgm:pt modelId="{33147701-2A4B-4EAB-B4FF-0FCEF3ED3465}" type="parTrans" cxnId="{462815F6-D80E-40F1-BCB2-DD9E60ACD005}">
      <dgm:prSet/>
      <dgm:spPr/>
      <dgm:t>
        <a:bodyPr/>
        <a:lstStyle/>
        <a:p>
          <a:endParaRPr lang="de-DE"/>
        </a:p>
      </dgm:t>
    </dgm:pt>
    <dgm:pt modelId="{2F2B82BE-6523-4206-949E-D1F41933DFA4}" type="sibTrans" cxnId="{462815F6-D80E-40F1-BCB2-DD9E60ACD005}">
      <dgm:prSet/>
      <dgm:spPr/>
      <dgm:t>
        <a:bodyPr/>
        <a:lstStyle/>
        <a:p>
          <a:endParaRPr lang="de-DE"/>
        </a:p>
      </dgm:t>
    </dgm:pt>
    <dgm:pt modelId="{D866EE44-D678-462A-9B7E-571B78AFA396}">
      <dgm:prSet phldrT="[Text]"/>
      <dgm:spPr/>
      <dgm:t>
        <a:bodyPr/>
        <a:lstStyle/>
        <a:p>
          <a:r>
            <a:rPr lang="de-DE" dirty="0"/>
            <a:t>Gather relevant </a:t>
          </a:r>
          <a:r>
            <a:rPr lang="de-DE" dirty="0" err="1"/>
            <a:t>data</a:t>
          </a:r>
          <a:endParaRPr lang="de-DE" dirty="0"/>
        </a:p>
      </dgm:t>
    </dgm:pt>
    <dgm:pt modelId="{491196F0-9BCD-474D-B36C-331CD2AE59E4}" type="parTrans" cxnId="{8BC41FD3-EB1F-4B80-8063-A6F1B6F9B0DD}">
      <dgm:prSet/>
      <dgm:spPr/>
      <dgm:t>
        <a:bodyPr/>
        <a:lstStyle/>
        <a:p>
          <a:endParaRPr lang="de-DE"/>
        </a:p>
      </dgm:t>
    </dgm:pt>
    <dgm:pt modelId="{D5CB49B4-D0A0-4D48-99C4-B1ACD66989F2}" type="sibTrans" cxnId="{8BC41FD3-EB1F-4B80-8063-A6F1B6F9B0DD}">
      <dgm:prSet/>
      <dgm:spPr/>
      <dgm:t>
        <a:bodyPr/>
        <a:lstStyle/>
        <a:p>
          <a:endParaRPr lang="de-DE"/>
        </a:p>
      </dgm:t>
    </dgm:pt>
    <dgm:pt modelId="{F084A1F8-23B8-486E-A6C9-8D7177DA9052}">
      <dgm:prSet phldrT="[Text]"/>
      <dgm:spPr/>
      <dgm:t>
        <a:bodyPr/>
        <a:lstStyle/>
        <a:p>
          <a:r>
            <a:rPr lang="de-DE" dirty="0" err="1"/>
            <a:t>Understand</a:t>
          </a:r>
          <a:r>
            <a:rPr lang="de-DE" dirty="0"/>
            <a:t> </a:t>
          </a:r>
          <a:r>
            <a:rPr lang="de-DE" dirty="0" err="1"/>
            <a:t>data</a:t>
          </a:r>
          <a:endParaRPr lang="de-DE" dirty="0"/>
        </a:p>
      </dgm:t>
    </dgm:pt>
    <dgm:pt modelId="{8A1C095B-AF66-42E0-9222-FF2531E23713}" type="parTrans" cxnId="{9E3B3970-28D7-49D7-AFF2-D96258629370}">
      <dgm:prSet/>
      <dgm:spPr/>
      <dgm:t>
        <a:bodyPr/>
        <a:lstStyle/>
        <a:p>
          <a:endParaRPr lang="de-DE"/>
        </a:p>
      </dgm:t>
    </dgm:pt>
    <dgm:pt modelId="{1EE6DF83-F21C-40AE-B466-81EF7BF7FF99}" type="sibTrans" cxnId="{9E3B3970-28D7-49D7-AFF2-D96258629370}">
      <dgm:prSet/>
      <dgm:spPr/>
      <dgm:t>
        <a:bodyPr/>
        <a:lstStyle/>
        <a:p>
          <a:endParaRPr lang="de-DE"/>
        </a:p>
      </dgm:t>
    </dgm:pt>
    <dgm:pt modelId="{431AD62A-4EA1-47A1-B8E7-7B1C1C14635D}">
      <dgm:prSet phldrT="[Text]"/>
      <dgm:spPr/>
      <dgm:t>
        <a:bodyPr/>
        <a:lstStyle/>
        <a:p>
          <a:r>
            <a:rPr lang="de-DE" dirty="0" err="1"/>
            <a:t>Merge</a:t>
          </a:r>
          <a:r>
            <a:rPr lang="de-DE" dirty="0"/>
            <a:t> and clean </a:t>
          </a:r>
          <a:r>
            <a:rPr lang="de-DE" dirty="0" err="1"/>
            <a:t>data</a:t>
          </a:r>
          <a:endParaRPr lang="de-DE" dirty="0"/>
        </a:p>
      </dgm:t>
    </dgm:pt>
    <dgm:pt modelId="{47A8EFC2-8C9B-4423-8617-9A1A70FB44E5}" type="parTrans" cxnId="{2EAC6FCF-A146-43DA-B3D9-60F185099423}">
      <dgm:prSet/>
      <dgm:spPr/>
      <dgm:t>
        <a:bodyPr/>
        <a:lstStyle/>
        <a:p>
          <a:endParaRPr lang="de-DE"/>
        </a:p>
      </dgm:t>
    </dgm:pt>
    <dgm:pt modelId="{087917C4-AF00-4167-A642-0DA4E723579F}" type="sibTrans" cxnId="{2EAC6FCF-A146-43DA-B3D9-60F185099423}">
      <dgm:prSet/>
      <dgm:spPr/>
      <dgm:t>
        <a:bodyPr/>
        <a:lstStyle/>
        <a:p>
          <a:endParaRPr lang="de-DE"/>
        </a:p>
      </dgm:t>
    </dgm:pt>
    <dgm:pt modelId="{DD380248-1D1E-41B7-9821-D4DC91C5AECF}">
      <dgm:prSet phldrT="[Text]"/>
      <dgm:spPr/>
      <dgm:t>
        <a:bodyPr/>
        <a:lstStyle/>
        <a:p>
          <a:r>
            <a:rPr lang="de-DE" dirty="0" err="1"/>
            <a:t>Exploratory</a:t>
          </a:r>
          <a:r>
            <a:rPr lang="de-DE" dirty="0"/>
            <a:t> Data Analysis</a:t>
          </a:r>
        </a:p>
      </dgm:t>
    </dgm:pt>
    <dgm:pt modelId="{603737A7-278B-4065-BB46-D7F498C3D55C}" type="parTrans" cxnId="{5010EFB8-C038-4C0F-AC9D-2990D361E0DC}">
      <dgm:prSet/>
      <dgm:spPr/>
      <dgm:t>
        <a:bodyPr/>
        <a:lstStyle/>
        <a:p>
          <a:endParaRPr lang="de-DE"/>
        </a:p>
      </dgm:t>
    </dgm:pt>
    <dgm:pt modelId="{5FCB6377-6610-43AF-9E41-4CC74C37D8F8}" type="sibTrans" cxnId="{5010EFB8-C038-4C0F-AC9D-2990D361E0DC}">
      <dgm:prSet/>
      <dgm:spPr/>
      <dgm:t>
        <a:bodyPr/>
        <a:lstStyle/>
        <a:p>
          <a:endParaRPr lang="de-DE"/>
        </a:p>
      </dgm:t>
    </dgm:pt>
    <dgm:pt modelId="{6466803E-5FB3-4749-9B22-7A4EEEE2C1A4}">
      <dgm:prSet phldrT="[Text]"/>
      <dgm:spPr/>
      <dgm:t>
        <a:bodyPr/>
        <a:lstStyle/>
        <a:p>
          <a:r>
            <a:rPr lang="de-DE" dirty="0"/>
            <a:t>Extract </a:t>
          </a:r>
          <a:r>
            <a:rPr lang="de-DE" dirty="0" err="1"/>
            <a:t>key</a:t>
          </a:r>
          <a:r>
            <a:rPr lang="de-DE" dirty="0"/>
            <a:t> </a:t>
          </a:r>
          <a:r>
            <a:rPr lang="de-DE" dirty="0" err="1"/>
            <a:t>insights</a:t>
          </a:r>
          <a:r>
            <a:rPr lang="de-DE" dirty="0"/>
            <a:t> and </a:t>
          </a:r>
          <a:r>
            <a:rPr lang="de-DE" dirty="0" err="1"/>
            <a:t>trends</a:t>
          </a:r>
          <a:endParaRPr lang="de-DE" dirty="0"/>
        </a:p>
      </dgm:t>
    </dgm:pt>
    <dgm:pt modelId="{9A654E2F-210E-45CF-BEF2-97C126D92619}" type="parTrans" cxnId="{8431A147-9F40-4BF9-A1C9-EB99D71E7788}">
      <dgm:prSet/>
      <dgm:spPr/>
      <dgm:t>
        <a:bodyPr/>
        <a:lstStyle/>
        <a:p>
          <a:endParaRPr lang="de-DE"/>
        </a:p>
      </dgm:t>
    </dgm:pt>
    <dgm:pt modelId="{B0FF935B-D8DD-4458-AF4E-17743BFE740F}" type="sibTrans" cxnId="{8431A147-9F40-4BF9-A1C9-EB99D71E7788}">
      <dgm:prSet/>
      <dgm:spPr/>
      <dgm:t>
        <a:bodyPr/>
        <a:lstStyle/>
        <a:p>
          <a:endParaRPr lang="de-DE"/>
        </a:p>
      </dgm:t>
    </dgm:pt>
    <dgm:pt modelId="{8CA5504F-626E-4476-BF52-F5B7B1AB8A88}">
      <dgm:prSet phldrT="[Text]"/>
      <dgm:spPr/>
      <dgm:t>
        <a:bodyPr/>
        <a:lstStyle/>
        <a:p>
          <a:r>
            <a:rPr lang="de-DE" dirty="0" err="1"/>
            <a:t>Present</a:t>
          </a:r>
          <a:r>
            <a:rPr lang="de-DE" dirty="0"/>
            <a:t> </a:t>
          </a:r>
          <a:r>
            <a:rPr lang="de-DE" dirty="0" err="1"/>
            <a:t>findings</a:t>
          </a:r>
          <a:endParaRPr lang="de-DE" dirty="0"/>
        </a:p>
      </dgm:t>
    </dgm:pt>
    <dgm:pt modelId="{685199AE-EEDA-4AA8-AA89-E16697C2AD02}" type="parTrans" cxnId="{B97DC7AD-11D6-4A2D-8B2C-AFFECA5ACD1E}">
      <dgm:prSet/>
      <dgm:spPr/>
      <dgm:t>
        <a:bodyPr/>
        <a:lstStyle/>
        <a:p>
          <a:endParaRPr lang="de-DE"/>
        </a:p>
      </dgm:t>
    </dgm:pt>
    <dgm:pt modelId="{88919761-7563-4AD9-9D80-573BB3809F8F}" type="sibTrans" cxnId="{B97DC7AD-11D6-4A2D-8B2C-AFFECA5ACD1E}">
      <dgm:prSet/>
      <dgm:spPr/>
      <dgm:t>
        <a:bodyPr/>
        <a:lstStyle/>
        <a:p>
          <a:endParaRPr lang="de-DE"/>
        </a:p>
      </dgm:t>
    </dgm:pt>
    <dgm:pt modelId="{9609EDD5-02AB-439B-AD81-1E9D83EEBE39}" type="pres">
      <dgm:prSet presAssocID="{208FB95C-3BED-46F4-9658-C38B05E07E18}" presName="Name0" presStyleCnt="0">
        <dgm:presLayoutVars>
          <dgm:dir/>
          <dgm:resizeHandles val="exact"/>
        </dgm:presLayoutVars>
      </dgm:prSet>
      <dgm:spPr/>
    </dgm:pt>
    <dgm:pt modelId="{658536B9-D2B1-42EA-8563-A07DADCC60FE}" type="pres">
      <dgm:prSet presAssocID="{79AAC569-A4CE-43DD-81E2-1E49E009CDE7}" presName="node" presStyleLbl="node1" presStyleIdx="0" presStyleCnt="7">
        <dgm:presLayoutVars>
          <dgm:bulletEnabled val="1"/>
        </dgm:presLayoutVars>
      </dgm:prSet>
      <dgm:spPr/>
    </dgm:pt>
    <dgm:pt modelId="{7532DA37-0D5C-4D2F-87D5-1F92C52F0DCE}" type="pres">
      <dgm:prSet presAssocID="{2F2B82BE-6523-4206-949E-D1F41933DFA4}" presName="sibTrans" presStyleLbl="sibTrans2D1" presStyleIdx="0" presStyleCnt="6"/>
      <dgm:spPr/>
    </dgm:pt>
    <dgm:pt modelId="{6BF0E744-D186-4116-B2C7-B407491CBDDD}" type="pres">
      <dgm:prSet presAssocID="{2F2B82BE-6523-4206-949E-D1F41933DFA4}" presName="connectorText" presStyleLbl="sibTrans2D1" presStyleIdx="0" presStyleCnt="6"/>
      <dgm:spPr/>
    </dgm:pt>
    <dgm:pt modelId="{D8944D66-C33C-41FE-BFD4-CDFAC9460EE6}" type="pres">
      <dgm:prSet presAssocID="{D866EE44-D678-462A-9B7E-571B78AFA396}" presName="node" presStyleLbl="node1" presStyleIdx="1" presStyleCnt="7">
        <dgm:presLayoutVars>
          <dgm:bulletEnabled val="1"/>
        </dgm:presLayoutVars>
      </dgm:prSet>
      <dgm:spPr/>
    </dgm:pt>
    <dgm:pt modelId="{006E4BEA-956D-4808-8E71-39360EA28033}" type="pres">
      <dgm:prSet presAssocID="{D5CB49B4-D0A0-4D48-99C4-B1ACD66989F2}" presName="sibTrans" presStyleLbl="sibTrans2D1" presStyleIdx="1" presStyleCnt="6"/>
      <dgm:spPr/>
    </dgm:pt>
    <dgm:pt modelId="{28B6708A-C6F9-468E-8D70-A9A27072EA7B}" type="pres">
      <dgm:prSet presAssocID="{D5CB49B4-D0A0-4D48-99C4-B1ACD66989F2}" presName="connectorText" presStyleLbl="sibTrans2D1" presStyleIdx="1" presStyleCnt="6"/>
      <dgm:spPr/>
    </dgm:pt>
    <dgm:pt modelId="{87AE0124-5647-48CA-9B44-F9F9C2389BB9}" type="pres">
      <dgm:prSet presAssocID="{F084A1F8-23B8-486E-A6C9-8D7177DA9052}" presName="node" presStyleLbl="node1" presStyleIdx="2" presStyleCnt="7">
        <dgm:presLayoutVars>
          <dgm:bulletEnabled val="1"/>
        </dgm:presLayoutVars>
      </dgm:prSet>
      <dgm:spPr/>
    </dgm:pt>
    <dgm:pt modelId="{3C55CE77-9971-42DA-9755-1A82EED1918F}" type="pres">
      <dgm:prSet presAssocID="{1EE6DF83-F21C-40AE-B466-81EF7BF7FF99}" presName="sibTrans" presStyleLbl="sibTrans2D1" presStyleIdx="2" presStyleCnt="6"/>
      <dgm:spPr/>
    </dgm:pt>
    <dgm:pt modelId="{45B69EB5-E2AE-44CF-B73E-2A0E19F145FC}" type="pres">
      <dgm:prSet presAssocID="{1EE6DF83-F21C-40AE-B466-81EF7BF7FF99}" presName="connectorText" presStyleLbl="sibTrans2D1" presStyleIdx="2" presStyleCnt="6"/>
      <dgm:spPr/>
    </dgm:pt>
    <dgm:pt modelId="{21623ADD-E348-4E64-AB5F-A539F73BE14C}" type="pres">
      <dgm:prSet presAssocID="{431AD62A-4EA1-47A1-B8E7-7B1C1C14635D}" presName="node" presStyleLbl="node1" presStyleIdx="3" presStyleCnt="7">
        <dgm:presLayoutVars>
          <dgm:bulletEnabled val="1"/>
        </dgm:presLayoutVars>
      </dgm:prSet>
      <dgm:spPr/>
    </dgm:pt>
    <dgm:pt modelId="{90F50ED7-FE4A-47A7-B204-545AFABA8B75}" type="pres">
      <dgm:prSet presAssocID="{087917C4-AF00-4167-A642-0DA4E723579F}" presName="sibTrans" presStyleLbl="sibTrans2D1" presStyleIdx="3" presStyleCnt="6"/>
      <dgm:spPr/>
    </dgm:pt>
    <dgm:pt modelId="{BEA99FE3-CE3A-422D-96AB-E67F6919F903}" type="pres">
      <dgm:prSet presAssocID="{087917C4-AF00-4167-A642-0DA4E723579F}" presName="connectorText" presStyleLbl="sibTrans2D1" presStyleIdx="3" presStyleCnt="6"/>
      <dgm:spPr/>
    </dgm:pt>
    <dgm:pt modelId="{3D5020A1-2977-4A64-8348-6996632837EC}" type="pres">
      <dgm:prSet presAssocID="{DD380248-1D1E-41B7-9821-D4DC91C5AECF}" presName="node" presStyleLbl="node1" presStyleIdx="4" presStyleCnt="7">
        <dgm:presLayoutVars>
          <dgm:bulletEnabled val="1"/>
        </dgm:presLayoutVars>
      </dgm:prSet>
      <dgm:spPr/>
    </dgm:pt>
    <dgm:pt modelId="{C6EEBA1E-91BA-41C0-9E4F-F3E9E7BAC8F4}" type="pres">
      <dgm:prSet presAssocID="{5FCB6377-6610-43AF-9E41-4CC74C37D8F8}" presName="sibTrans" presStyleLbl="sibTrans2D1" presStyleIdx="4" presStyleCnt="6"/>
      <dgm:spPr/>
    </dgm:pt>
    <dgm:pt modelId="{6FC75622-7622-4098-896D-ED11D731719C}" type="pres">
      <dgm:prSet presAssocID="{5FCB6377-6610-43AF-9E41-4CC74C37D8F8}" presName="connectorText" presStyleLbl="sibTrans2D1" presStyleIdx="4" presStyleCnt="6"/>
      <dgm:spPr/>
    </dgm:pt>
    <dgm:pt modelId="{F0309A0E-34DA-46D5-A28B-6034806C72CF}" type="pres">
      <dgm:prSet presAssocID="{6466803E-5FB3-4749-9B22-7A4EEEE2C1A4}" presName="node" presStyleLbl="node1" presStyleIdx="5" presStyleCnt="7">
        <dgm:presLayoutVars>
          <dgm:bulletEnabled val="1"/>
        </dgm:presLayoutVars>
      </dgm:prSet>
      <dgm:spPr/>
    </dgm:pt>
    <dgm:pt modelId="{7C59AA1C-ADA0-4383-966E-DF4B371916C4}" type="pres">
      <dgm:prSet presAssocID="{B0FF935B-D8DD-4458-AF4E-17743BFE740F}" presName="sibTrans" presStyleLbl="sibTrans2D1" presStyleIdx="5" presStyleCnt="6"/>
      <dgm:spPr/>
    </dgm:pt>
    <dgm:pt modelId="{46AD69E4-94D8-4D5A-B946-6D565E6A3767}" type="pres">
      <dgm:prSet presAssocID="{B0FF935B-D8DD-4458-AF4E-17743BFE740F}" presName="connectorText" presStyleLbl="sibTrans2D1" presStyleIdx="5" presStyleCnt="6"/>
      <dgm:spPr/>
    </dgm:pt>
    <dgm:pt modelId="{B2FAE84B-270D-4E72-9CEF-2655FACF1590}" type="pres">
      <dgm:prSet presAssocID="{8CA5504F-626E-4476-BF52-F5B7B1AB8A88}" presName="node" presStyleLbl="node1" presStyleIdx="6" presStyleCnt="7">
        <dgm:presLayoutVars>
          <dgm:bulletEnabled val="1"/>
        </dgm:presLayoutVars>
      </dgm:prSet>
      <dgm:spPr/>
    </dgm:pt>
  </dgm:ptLst>
  <dgm:cxnLst>
    <dgm:cxn modelId="{3155BA0B-6C8F-4468-841E-AE55AB5CDC1B}" type="presOf" srcId="{8CA5504F-626E-4476-BF52-F5B7B1AB8A88}" destId="{B2FAE84B-270D-4E72-9CEF-2655FACF1590}" srcOrd="0" destOrd="0" presId="urn:microsoft.com/office/officeart/2005/8/layout/process1"/>
    <dgm:cxn modelId="{6495EB20-FE6D-4D8E-971E-73FE5BB09363}" type="presOf" srcId="{D5CB49B4-D0A0-4D48-99C4-B1ACD66989F2}" destId="{006E4BEA-956D-4808-8E71-39360EA28033}" srcOrd="0" destOrd="0" presId="urn:microsoft.com/office/officeart/2005/8/layout/process1"/>
    <dgm:cxn modelId="{94CE2125-D8DD-470B-B0D9-000F4AE666CF}" type="presOf" srcId="{79AAC569-A4CE-43DD-81E2-1E49E009CDE7}" destId="{658536B9-D2B1-42EA-8563-A07DADCC60FE}" srcOrd="0" destOrd="0" presId="urn:microsoft.com/office/officeart/2005/8/layout/process1"/>
    <dgm:cxn modelId="{0007AA33-AB38-4408-8C00-75EF29CEDBA8}" type="presOf" srcId="{5FCB6377-6610-43AF-9E41-4CC74C37D8F8}" destId="{C6EEBA1E-91BA-41C0-9E4F-F3E9E7BAC8F4}" srcOrd="0" destOrd="0" presId="urn:microsoft.com/office/officeart/2005/8/layout/process1"/>
    <dgm:cxn modelId="{954DD33C-48D5-447B-A0B6-3DAB5137A3BC}" type="presOf" srcId="{D866EE44-D678-462A-9B7E-571B78AFA396}" destId="{D8944D66-C33C-41FE-BFD4-CDFAC9460EE6}" srcOrd="0" destOrd="0" presId="urn:microsoft.com/office/officeart/2005/8/layout/process1"/>
    <dgm:cxn modelId="{FE0A713F-2051-4010-8A16-AD65773FD4C4}" type="presOf" srcId="{5FCB6377-6610-43AF-9E41-4CC74C37D8F8}" destId="{6FC75622-7622-4098-896D-ED11D731719C}" srcOrd="1" destOrd="0" presId="urn:microsoft.com/office/officeart/2005/8/layout/process1"/>
    <dgm:cxn modelId="{8431A147-9F40-4BF9-A1C9-EB99D71E7788}" srcId="{208FB95C-3BED-46F4-9658-C38B05E07E18}" destId="{6466803E-5FB3-4749-9B22-7A4EEEE2C1A4}" srcOrd="5" destOrd="0" parTransId="{9A654E2F-210E-45CF-BEF2-97C126D92619}" sibTransId="{B0FF935B-D8DD-4458-AF4E-17743BFE740F}"/>
    <dgm:cxn modelId="{6BF5F74D-681A-4998-A19B-0C6D234C0FC3}" type="presOf" srcId="{2F2B82BE-6523-4206-949E-D1F41933DFA4}" destId="{7532DA37-0D5C-4D2F-87D5-1F92C52F0DCE}" srcOrd="0" destOrd="0" presId="urn:microsoft.com/office/officeart/2005/8/layout/process1"/>
    <dgm:cxn modelId="{9E3B3970-28D7-49D7-AFF2-D96258629370}" srcId="{208FB95C-3BED-46F4-9658-C38B05E07E18}" destId="{F084A1F8-23B8-486E-A6C9-8D7177DA9052}" srcOrd="2" destOrd="0" parTransId="{8A1C095B-AF66-42E0-9222-FF2531E23713}" sibTransId="{1EE6DF83-F21C-40AE-B466-81EF7BF7FF99}"/>
    <dgm:cxn modelId="{F7F92152-833C-4733-9F06-5F2DF9DD07A8}" type="presOf" srcId="{208FB95C-3BED-46F4-9658-C38B05E07E18}" destId="{9609EDD5-02AB-439B-AD81-1E9D83EEBE39}" srcOrd="0" destOrd="0" presId="urn:microsoft.com/office/officeart/2005/8/layout/process1"/>
    <dgm:cxn modelId="{29D96B74-B191-41D0-A956-AB33077CA6D9}" type="presOf" srcId="{2F2B82BE-6523-4206-949E-D1F41933DFA4}" destId="{6BF0E744-D186-4116-B2C7-B407491CBDDD}" srcOrd="1" destOrd="0" presId="urn:microsoft.com/office/officeart/2005/8/layout/process1"/>
    <dgm:cxn modelId="{55274879-8E1D-45DF-A5B2-3789599F957E}" type="presOf" srcId="{B0FF935B-D8DD-4458-AF4E-17743BFE740F}" destId="{7C59AA1C-ADA0-4383-966E-DF4B371916C4}" srcOrd="0" destOrd="0" presId="urn:microsoft.com/office/officeart/2005/8/layout/process1"/>
    <dgm:cxn modelId="{804B4E8C-6ADC-403F-B273-2D4D1F809AA8}" type="presOf" srcId="{1EE6DF83-F21C-40AE-B466-81EF7BF7FF99}" destId="{3C55CE77-9971-42DA-9755-1A82EED1918F}" srcOrd="0" destOrd="0" presId="urn:microsoft.com/office/officeart/2005/8/layout/process1"/>
    <dgm:cxn modelId="{863D149C-6717-4D85-9221-FF1821B50F50}" type="presOf" srcId="{F084A1F8-23B8-486E-A6C9-8D7177DA9052}" destId="{87AE0124-5647-48CA-9B44-F9F9C2389BB9}" srcOrd="0" destOrd="0" presId="urn:microsoft.com/office/officeart/2005/8/layout/process1"/>
    <dgm:cxn modelId="{986360A4-6BCF-40BA-87E8-FAC1B5AF10DD}" type="presOf" srcId="{431AD62A-4EA1-47A1-B8E7-7B1C1C14635D}" destId="{21623ADD-E348-4E64-AB5F-A539F73BE14C}" srcOrd="0" destOrd="0" presId="urn:microsoft.com/office/officeart/2005/8/layout/process1"/>
    <dgm:cxn modelId="{72B0CAA6-E5DB-4E92-B848-BF00A16BAC8A}" type="presOf" srcId="{D5CB49B4-D0A0-4D48-99C4-B1ACD66989F2}" destId="{28B6708A-C6F9-468E-8D70-A9A27072EA7B}" srcOrd="1" destOrd="0" presId="urn:microsoft.com/office/officeart/2005/8/layout/process1"/>
    <dgm:cxn modelId="{0CE65DAD-61C3-42AD-A7D5-3A6FDB438577}" type="presOf" srcId="{DD380248-1D1E-41B7-9821-D4DC91C5AECF}" destId="{3D5020A1-2977-4A64-8348-6996632837EC}" srcOrd="0" destOrd="0" presId="urn:microsoft.com/office/officeart/2005/8/layout/process1"/>
    <dgm:cxn modelId="{B97DC7AD-11D6-4A2D-8B2C-AFFECA5ACD1E}" srcId="{208FB95C-3BED-46F4-9658-C38B05E07E18}" destId="{8CA5504F-626E-4476-BF52-F5B7B1AB8A88}" srcOrd="6" destOrd="0" parTransId="{685199AE-EEDA-4AA8-AA89-E16697C2AD02}" sibTransId="{88919761-7563-4AD9-9D80-573BB3809F8F}"/>
    <dgm:cxn modelId="{B4697FB4-F31C-4E14-920D-AE193A2880AB}" type="presOf" srcId="{1EE6DF83-F21C-40AE-B466-81EF7BF7FF99}" destId="{45B69EB5-E2AE-44CF-B73E-2A0E19F145FC}" srcOrd="1" destOrd="0" presId="urn:microsoft.com/office/officeart/2005/8/layout/process1"/>
    <dgm:cxn modelId="{0484B5B7-2F38-44D1-B7FD-ED1381E13DD0}" type="presOf" srcId="{6466803E-5FB3-4749-9B22-7A4EEEE2C1A4}" destId="{F0309A0E-34DA-46D5-A28B-6034806C72CF}" srcOrd="0" destOrd="0" presId="urn:microsoft.com/office/officeart/2005/8/layout/process1"/>
    <dgm:cxn modelId="{5010EFB8-C038-4C0F-AC9D-2990D361E0DC}" srcId="{208FB95C-3BED-46F4-9658-C38B05E07E18}" destId="{DD380248-1D1E-41B7-9821-D4DC91C5AECF}" srcOrd="4" destOrd="0" parTransId="{603737A7-278B-4065-BB46-D7F498C3D55C}" sibTransId="{5FCB6377-6610-43AF-9E41-4CC74C37D8F8}"/>
    <dgm:cxn modelId="{2EAC6FCF-A146-43DA-B3D9-60F185099423}" srcId="{208FB95C-3BED-46F4-9658-C38B05E07E18}" destId="{431AD62A-4EA1-47A1-B8E7-7B1C1C14635D}" srcOrd="3" destOrd="0" parTransId="{47A8EFC2-8C9B-4423-8617-9A1A70FB44E5}" sibTransId="{087917C4-AF00-4167-A642-0DA4E723579F}"/>
    <dgm:cxn modelId="{8BC41FD3-EB1F-4B80-8063-A6F1B6F9B0DD}" srcId="{208FB95C-3BED-46F4-9658-C38B05E07E18}" destId="{D866EE44-D678-462A-9B7E-571B78AFA396}" srcOrd="1" destOrd="0" parTransId="{491196F0-9BCD-474D-B36C-331CD2AE59E4}" sibTransId="{D5CB49B4-D0A0-4D48-99C4-B1ACD66989F2}"/>
    <dgm:cxn modelId="{A49956F0-FB64-401B-8C0C-78E63F978228}" type="presOf" srcId="{087917C4-AF00-4167-A642-0DA4E723579F}" destId="{BEA99FE3-CE3A-422D-96AB-E67F6919F903}" srcOrd="1" destOrd="0" presId="urn:microsoft.com/office/officeart/2005/8/layout/process1"/>
    <dgm:cxn modelId="{9CE358F4-E67E-40B6-848C-01BB3D19DF29}" type="presOf" srcId="{087917C4-AF00-4167-A642-0DA4E723579F}" destId="{90F50ED7-FE4A-47A7-B204-545AFABA8B75}" srcOrd="0" destOrd="0" presId="urn:microsoft.com/office/officeart/2005/8/layout/process1"/>
    <dgm:cxn modelId="{462815F6-D80E-40F1-BCB2-DD9E60ACD005}" srcId="{208FB95C-3BED-46F4-9658-C38B05E07E18}" destId="{79AAC569-A4CE-43DD-81E2-1E49E009CDE7}" srcOrd="0" destOrd="0" parTransId="{33147701-2A4B-4EAB-B4FF-0FCEF3ED3465}" sibTransId="{2F2B82BE-6523-4206-949E-D1F41933DFA4}"/>
    <dgm:cxn modelId="{BD42E4FD-ACDA-4277-9659-3DD97EE51280}" type="presOf" srcId="{B0FF935B-D8DD-4458-AF4E-17743BFE740F}" destId="{46AD69E4-94D8-4D5A-B946-6D565E6A3767}" srcOrd="1" destOrd="0" presId="urn:microsoft.com/office/officeart/2005/8/layout/process1"/>
    <dgm:cxn modelId="{4D4D6B34-86E8-4B54-B273-8765913BF91F}" type="presParOf" srcId="{9609EDD5-02AB-439B-AD81-1E9D83EEBE39}" destId="{658536B9-D2B1-42EA-8563-A07DADCC60FE}" srcOrd="0" destOrd="0" presId="urn:microsoft.com/office/officeart/2005/8/layout/process1"/>
    <dgm:cxn modelId="{CBE6F21A-7417-47CB-A4EB-198C54C087A4}" type="presParOf" srcId="{9609EDD5-02AB-439B-AD81-1E9D83EEBE39}" destId="{7532DA37-0D5C-4D2F-87D5-1F92C52F0DCE}" srcOrd="1" destOrd="0" presId="urn:microsoft.com/office/officeart/2005/8/layout/process1"/>
    <dgm:cxn modelId="{369176E7-49A6-49FB-B9EB-85DD49C3AEBA}" type="presParOf" srcId="{7532DA37-0D5C-4D2F-87D5-1F92C52F0DCE}" destId="{6BF0E744-D186-4116-B2C7-B407491CBDDD}" srcOrd="0" destOrd="0" presId="urn:microsoft.com/office/officeart/2005/8/layout/process1"/>
    <dgm:cxn modelId="{46072DF7-1588-4C70-858F-59D313217931}" type="presParOf" srcId="{9609EDD5-02AB-439B-AD81-1E9D83EEBE39}" destId="{D8944D66-C33C-41FE-BFD4-CDFAC9460EE6}" srcOrd="2" destOrd="0" presId="urn:microsoft.com/office/officeart/2005/8/layout/process1"/>
    <dgm:cxn modelId="{6EFCD7A5-83B6-4A8B-A131-5C55E204ABE5}" type="presParOf" srcId="{9609EDD5-02AB-439B-AD81-1E9D83EEBE39}" destId="{006E4BEA-956D-4808-8E71-39360EA28033}" srcOrd="3" destOrd="0" presId="urn:microsoft.com/office/officeart/2005/8/layout/process1"/>
    <dgm:cxn modelId="{5CD4FAF8-8317-439B-93F3-F64F1A75D5D7}" type="presParOf" srcId="{006E4BEA-956D-4808-8E71-39360EA28033}" destId="{28B6708A-C6F9-468E-8D70-A9A27072EA7B}" srcOrd="0" destOrd="0" presId="urn:microsoft.com/office/officeart/2005/8/layout/process1"/>
    <dgm:cxn modelId="{279E4A12-286C-4485-B2DD-E2C5081C41A3}" type="presParOf" srcId="{9609EDD5-02AB-439B-AD81-1E9D83EEBE39}" destId="{87AE0124-5647-48CA-9B44-F9F9C2389BB9}" srcOrd="4" destOrd="0" presId="urn:microsoft.com/office/officeart/2005/8/layout/process1"/>
    <dgm:cxn modelId="{EBFD58F5-4BBB-4D24-84C6-695E9A502E80}" type="presParOf" srcId="{9609EDD5-02AB-439B-AD81-1E9D83EEBE39}" destId="{3C55CE77-9971-42DA-9755-1A82EED1918F}" srcOrd="5" destOrd="0" presId="urn:microsoft.com/office/officeart/2005/8/layout/process1"/>
    <dgm:cxn modelId="{C6C70625-4468-4F24-A86F-AB84F1DA485C}" type="presParOf" srcId="{3C55CE77-9971-42DA-9755-1A82EED1918F}" destId="{45B69EB5-E2AE-44CF-B73E-2A0E19F145FC}" srcOrd="0" destOrd="0" presId="urn:microsoft.com/office/officeart/2005/8/layout/process1"/>
    <dgm:cxn modelId="{4EC00FD0-BD00-425C-9ECA-32898B5817DA}" type="presParOf" srcId="{9609EDD5-02AB-439B-AD81-1E9D83EEBE39}" destId="{21623ADD-E348-4E64-AB5F-A539F73BE14C}" srcOrd="6" destOrd="0" presId="urn:microsoft.com/office/officeart/2005/8/layout/process1"/>
    <dgm:cxn modelId="{D29525C2-3815-40D2-B75C-B350603112F1}" type="presParOf" srcId="{9609EDD5-02AB-439B-AD81-1E9D83EEBE39}" destId="{90F50ED7-FE4A-47A7-B204-545AFABA8B75}" srcOrd="7" destOrd="0" presId="urn:microsoft.com/office/officeart/2005/8/layout/process1"/>
    <dgm:cxn modelId="{87C44A3C-5BB8-4F57-90AF-09C7407E9886}" type="presParOf" srcId="{90F50ED7-FE4A-47A7-B204-545AFABA8B75}" destId="{BEA99FE3-CE3A-422D-96AB-E67F6919F903}" srcOrd="0" destOrd="0" presId="urn:microsoft.com/office/officeart/2005/8/layout/process1"/>
    <dgm:cxn modelId="{9E618FAC-8EED-480E-91D3-876693013124}" type="presParOf" srcId="{9609EDD5-02AB-439B-AD81-1E9D83EEBE39}" destId="{3D5020A1-2977-4A64-8348-6996632837EC}" srcOrd="8" destOrd="0" presId="urn:microsoft.com/office/officeart/2005/8/layout/process1"/>
    <dgm:cxn modelId="{66B9B205-78DC-44F6-91AA-F88ECDCCD68A}" type="presParOf" srcId="{9609EDD5-02AB-439B-AD81-1E9D83EEBE39}" destId="{C6EEBA1E-91BA-41C0-9E4F-F3E9E7BAC8F4}" srcOrd="9" destOrd="0" presId="urn:microsoft.com/office/officeart/2005/8/layout/process1"/>
    <dgm:cxn modelId="{AC862150-FC97-4877-B870-6C0EC8CB085C}" type="presParOf" srcId="{C6EEBA1E-91BA-41C0-9E4F-F3E9E7BAC8F4}" destId="{6FC75622-7622-4098-896D-ED11D731719C}" srcOrd="0" destOrd="0" presId="urn:microsoft.com/office/officeart/2005/8/layout/process1"/>
    <dgm:cxn modelId="{EC04EBA1-16CD-4710-B46D-32E2A15B95F9}" type="presParOf" srcId="{9609EDD5-02AB-439B-AD81-1E9D83EEBE39}" destId="{F0309A0E-34DA-46D5-A28B-6034806C72CF}" srcOrd="10" destOrd="0" presId="urn:microsoft.com/office/officeart/2005/8/layout/process1"/>
    <dgm:cxn modelId="{D43820AE-3510-4293-8654-D3D4F3F0E454}" type="presParOf" srcId="{9609EDD5-02AB-439B-AD81-1E9D83EEBE39}" destId="{7C59AA1C-ADA0-4383-966E-DF4B371916C4}" srcOrd="11" destOrd="0" presId="urn:microsoft.com/office/officeart/2005/8/layout/process1"/>
    <dgm:cxn modelId="{4295AF51-4CEF-4EF4-A40E-CFB712B03929}" type="presParOf" srcId="{7C59AA1C-ADA0-4383-966E-DF4B371916C4}" destId="{46AD69E4-94D8-4D5A-B946-6D565E6A3767}" srcOrd="0" destOrd="0" presId="urn:microsoft.com/office/officeart/2005/8/layout/process1"/>
    <dgm:cxn modelId="{B45239CB-AAF2-42D0-A759-8E8FD32C9810}" type="presParOf" srcId="{9609EDD5-02AB-439B-AD81-1E9D83EEBE39}" destId="{B2FAE84B-270D-4E72-9CEF-2655FACF1590}" srcOrd="1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8536B9-D2B1-42EA-8563-A07DADCC60FE}">
      <dsp:nvSpPr>
        <dsp:cNvPr id="0" name=""/>
        <dsp:cNvSpPr/>
      </dsp:nvSpPr>
      <dsp:spPr>
        <a:xfrm>
          <a:off x="3257" y="1288429"/>
          <a:ext cx="1233464" cy="12951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Understand</a:t>
          </a:r>
          <a:r>
            <a:rPr lang="de-DE" sz="1600" kern="1200" dirty="0"/>
            <a:t> </a:t>
          </a:r>
          <a:r>
            <a:rPr lang="de-DE" sz="1600" kern="1200" dirty="0" err="1"/>
            <a:t>business</a:t>
          </a:r>
          <a:r>
            <a:rPr lang="de-DE" sz="1600" kern="1200" dirty="0"/>
            <a:t> </a:t>
          </a:r>
          <a:r>
            <a:rPr lang="de-DE" sz="1600" kern="1200" dirty="0" err="1"/>
            <a:t>problem</a:t>
          </a:r>
          <a:r>
            <a:rPr lang="de-DE" sz="1600" kern="1200" dirty="0"/>
            <a:t> and </a:t>
          </a:r>
          <a:r>
            <a:rPr lang="de-DE" sz="1600" kern="1200" dirty="0" err="1"/>
            <a:t>objective</a:t>
          </a:r>
          <a:endParaRPr lang="de-DE" sz="1600" kern="1200" dirty="0"/>
        </a:p>
      </dsp:txBody>
      <dsp:txXfrm>
        <a:off x="39384" y="1324556"/>
        <a:ext cx="1161210" cy="1222883"/>
      </dsp:txXfrm>
    </dsp:sp>
    <dsp:sp modelId="{7532DA37-0D5C-4D2F-87D5-1F92C52F0DCE}">
      <dsp:nvSpPr>
        <dsp:cNvPr id="0" name=""/>
        <dsp:cNvSpPr/>
      </dsp:nvSpPr>
      <dsp:spPr>
        <a:xfrm>
          <a:off x="1360068" y="1783048"/>
          <a:ext cx="261494" cy="305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1360068" y="1844228"/>
        <a:ext cx="183046" cy="183539"/>
      </dsp:txXfrm>
    </dsp:sp>
    <dsp:sp modelId="{D8944D66-C33C-41FE-BFD4-CDFAC9460EE6}">
      <dsp:nvSpPr>
        <dsp:cNvPr id="0" name=""/>
        <dsp:cNvSpPr/>
      </dsp:nvSpPr>
      <dsp:spPr>
        <a:xfrm>
          <a:off x="1730107" y="1288429"/>
          <a:ext cx="1233464" cy="12951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Gather relevant </a:t>
          </a:r>
          <a:r>
            <a:rPr lang="de-DE" sz="1600" kern="1200" dirty="0" err="1"/>
            <a:t>data</a:t>
          </a:r>
          <a:endParaRPr lang="de-DE" sz="1600" kern="1200" dirty="0"/>
        </a:p>
      </dsp:txBody>
      <dsp:txXfrm>
        <a:off x="1766234" y="1324556"/>
        <a:ext cx="1161210" cy="1222883"/>
      </dsp:txXfrm>
    </dsp:sp>
    <dsp:sp modelId="{006E4BEA-956D-4808-8E71-39360EA28033}">
      <dsp:nvSpPr>
        <dsp:cNvPr id="0" name=""/>
        <dsp:cNvSpPr/>
      </dsp:nvSpPr>
      <dsp:spPr>
        <a:xfrm>
          <a:off x="3086918" y="1783048"/>
          <a:ext cx="261494" cy="305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3086918" y="1844228"/>
        <a:ext cx="183046" cy="183539"/>
      </dsp:txXfrm>
    </dsp:sp>
    <dsp:sp modelId="{87AE0124-5647-48CA-9B44-F9F9C2389BB9}">
      <dsp:nvSpPr>
        <dsp:cNvPr id="0" name=""/>
        <dsp:cNvSpPr/>
      </dsp:nvSpPr>
      <dsp:spPr>
        <a:xfrm>
          <a:off x="3456958" y="1288429"/>
          <a:ext cx="1233464" cy="12951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Understand</a:t>
          </a:r>
          <a:r>
            <a:rPr lang="de-DE" sz="1600" kern="1200" dirty="0"/>
            <a:t> </a:t>
          </a:r>
          <a:r>
            <a:rPr lang="de-DE" sz="1600" kern="1200" dirty="0" err="1"/>
            <a:t>data</a:t>
          </a:r>
          <a:endParaRPr lang="de-DE" sz="1600" kern="1200" dirty="0"/>
        </a:p>
      </dsp:txBody>
      <dsp:txXfrm>
        <a:off x="3493085" y="1324556"/>
        <a:ext cx="1161210" cy="1222883"/>
      </dsp:txXfrm>
    </dsp:sp>
    <dsp:sp modelId="{3C55CE77-9971-42DA-9755-1A82EED1918F}">
      <dsp:nvSpPr>
        <dsp:cNvPr id="0" name=""/>
        <dsp:cNvSpPr/>
      </dsp:nvSpPr>
      <dsp:spPr>
        <a:xfrm>
          <a:off x="4813769" y="1783048"/>
          <a:ext cx="261494" cy="305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4813769" y="1844228"/>
        <a:ext cx="183046" cy="183539"/>
      </dsp:txXfrm>
    </dsp:sp>
    <dsp:sp modelId="{21623ADD-E348-4E64-AB5F-A539F73BE14C}">
      <dsp:nvSpPr>
        <dsp:cNvPr id="0" name=""/>
        <dsp:cNvSpPr/>
      </dsp:nvSpPr>
      <dsp:spPr>
        <a:xfrm>
          <a:off x="5183808" y="1288429"/>
          <a:ext cx="1233464" cy="12951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Merge</a:t>
          </a:r>
          <a:r>
            <a:rPr lang="de-DE" sz="1600" kern="1200" dirty="0"/>
            <a:t> and clean </a:t>
          </a:r>
          <a:r>
            <a:rPr lang="de-DE" sz="1600" kern="1200" dirty="0" err="1"/>
            <a:t>data</a:t>
          </a:r>
          <a:endParaRPr lang="de-DE" sz="1600" kern="1200" dirty="0"/>
        </a:p>
      </dsp:txBody>
      <dsp:txXfrm>
        <a:off x="5219935" y="1324556"/>
        <a:ext cx="1161210" cy="1222883"/>
      </dsp:txXfrm>
    </dsp:sp>
    <dsp:sp modelId="{90F50ED7-FE4A-47A7-B204-545AFABA8B75}">
      <dsp:nvSpPr>
        <dsp:cNvPr id="0" name=""/>
        <dsp:cNvSpPr/>
      </dsp:nvSpPr>
      <dsp:spPr>
        <a:xfrm>
          <a:off x="6540619" y="1783048"/>
          <a:ext cx="261494" cy="305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6540619" y="1844228"/>
        <a:ext cx="183046" cy="183539"/>
      </dsp:txXfrm>
    </dsp:sp>
    <dsp:sp modelId="{3D5020A1-2977-4A64-8348-6996632837EC}">
      <dsp:nvSpPr>
        <dsp:cNvPr id="0" name=""/>
        <dsp:cNvSpPr/>
      </dsp:nvSpPr>
      <dsp:spPr>
        <a:xfrm>
          <a:off x="6910659" y="1288429"/>
          <a:ext cx="1233464" cy="12951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Exploratory</a:t>
          </a:r>
          <a:r>
            <a:rPr lang="de-DE" sz="1600" kern="1200" dirty="0"/>
            <a:t> Data Analysis</a:t>
          </a:r>
        </a:p>
      </dsp:txBody>
      <dsp:txXfrm>
        <a:off x="6946786" y="1324556"/>
        <a:ext cx="1161210" cy="1222883"/>
      </dsp:txXfrm>
    </dsp:sp>
    <dsp:sp modelId="{C6EEBA1E-91BA-41C0-9E4F-F3E9E7BAC8F4}">
      <dsp:nvSpPr>
        <dsp:cNvPr id="0" name=""/>
        <dsp:cNvSpPr/>
      </dsp:nvSpPr>
      <dsp:spPr>
        <a:xfrm>
          <a:off x="8267470" y="1783048"/>
          <a:ext cx="261494" cy="305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8267470" y="1844228"/>
        <a:ext cx="183046" cy="183539"/>
      </dsp:txXfrm>
    </dsp:sp>
    <dsp:sp modelId="{F0309A0E-34DA-46D5-A28B-6034806C72CF}">
      <dsp:nvSpPr>
        <dsp:cNvPr id="0" name=""/>
        <dsp:cNvSpPr/>
      </dsp:nvSpPr>
      <dsp:spPr>
        <a:xfrm>
          <a:off x="8637509" y="1288429"/>
          <a:ext cx="1233464" cy="12951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Extract </a:t>
          </a:r>
          <a:r>
            <a:rPr lang="de-DE" sz="1600" kern="1200" dirty="0" err="1"/>
            <a:t>key</a:t>
          </a:r>
          <a:r>
            <a:rPr lang="de-DE" sz="1600" kern="1200" dirty="0"/>
            <a:t> </a:t>
          </a:r>
          <a:r>
            <a:rPr lang="de-DE" sz="1600" kern="1200" dirty="0" err="1"/>
            <a:t>insights</a:t>
          </a:r>
          <a:r>
            <a:rPr lang="de-DE" sz="1600" kern="1200" dirty="0"/>
            <a:t> and </a:t>
          </a:r>
          <a:r>
            <a:rPr lang="de-DE" sz="1600" kern="1200" dirty="0" err="1"/>
            <a:t>trends</a:t>
          </a:r>
          <a:endParaRPr lang="de-DE" sz="1600" kern="1200" dirty="0"/>
        </a:p>
      </dsp:txBody>
      <dsp:txXfrm>
        <a:off x="8673636" y="1324556"/>
        <a:ext cx="1161210" cy="1222883"/>
      </dsp:txXfrm>
    </dsp:sp>
    <dsp:sp modelId="{7C59AA1C-ADA0-4383-966E-DF4B371916C4}">
      <dsp:nvSpPr>
        <dsp:cNvPr id="0" name=""/>
        <dsp:cNvSpPr/>
      </dsp:nvSpPr>
      <dsp:spPr>
        <a:xfrm>
          <a:off x="9994320" y="1783048"/>
          <a:ext cx="261494" cy="305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9994320" y="1844228"/>
        <a:ext cx="183046" cy="183539"/>
      </dsp:txXfrm>
    </dsp:sp>
    <dsp:sp modelId="{B2FAE84B-270D-4E72-9CEF-2655FACF1590}">
      <dsp:nvSpPr>
        <dsp:cNvPr id="0" name=""/>
        <dsp:cNvSpPr/>
      </dsp:nvSpPr>
      <dsp:spPr>
        <a:xfrm>
          <a:off x="10364360" y="1288429"/>
          <a:ext cx="1233464" cy="12951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/>
            <a:t>Present</a:t>
          </a:r>
          <a:r>
            <a:rPr lang="de-DE" sz="1600" kern="1200" dirty="0"/>
            <a:t> </a:t>
          </a:r>
          <a:r>
            <a:rPr lang="de-DE" sz="1600" kern="1200" dirty="0" err="1"/>
            <a:t>findings</a:t>
          </a:r>
          <a:endParaRPr lang="de-DE" sz="1600" kern="1200" dirty="0"/>
        </a:p>
      </dsp:txBody>
      <dsp:txXfrm>
        <a:off x="10400487" y="1324556"/>
        <a:ext cx="1161210" cy="12228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5610A-17B4-4656-93CF-E1D9982860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0080" y="1371599"/>
            <a:ext cx="6675120" cy="2951825"/>
          </a:xfrm>
        </p:spPr>
        <p:txBody>
          <a:bodyPr anchor="t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51C80B-DFD6-415B-BA5B-E56E510CD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4584879"/>
            <a:ext cx="6675120" cy="1287887"/>
          </a:xfrm>
        </p:spPr>
        <p:txBody>
          <a:bodyPr anchor="b">
            <a:normAutofit/>
          </a:bodyPr>
          <a:lstStyle>
            <a:lvl1pPr marL="0" indent="0" algn="l">
              <a:lnSpc>
                <a:spcPct val="130000"/>
              </a:lnSpc>
              <a:buNone/>
              <a:defRPr sz="1800" b="1" cap="all" spc="3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2065B-06FF-4991-9F8A-4BE25457B4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4479B-705B-4489-957E-7E8A228BDFA0}" type="datetime1">
              <a:rPr lang="en-US" smtClean="0"/>
              <a:t>9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0DF2FA-C604-45D8-A633-11D3742EC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EE5DA9-2D04-4850-AB9F-BD3538165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028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E4BB7-3F30-4C31-9BB2-8EC24FC0A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CF4134-70F5-4EE6-88BE-49D129630C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9EABC7-C044-44DE-B303-55A0581D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B66AD-7C08-490A-ADA4-B47E10FB2407}" type="datetime1">
              <a:rPr lang="en-US" smtClean="0"/>
              <a:t>9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A63E1-5BC5-402E-9916-BAB84BCF0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EF915-AF64-4ECC-8B1A-B7E6A89B7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6007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31CB3635-47E1-90D8-B693-DA85A66B38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6EB09414-2AA1-4D8E-A00A-C092FBC92D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209219" y="640079"/>
            <a:ext cx="1811773" cy="553688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2C3A78-37C5-46D0-9DF4-CB78AF883C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40080" y="640080"/>
            <a:ext cx="8412422" cy="553688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8705E-925D-4F57-8268-107CE3CF4C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95027-4255-49E7-9841-CD21BCC99996}" type="datetime1">
              <a:rPr lang="en-US" smtClean="0"/>
              <a:t>9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FE207E-070D-4EC8-A44C-21F1815FD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5D01D1-C266-4161-A820-C084B9801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230604F-219C-2DEE-830E-27274CC2FE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rot="5400000">
            <a:off x="10872154" y="1192438"/>
            <a:ext cx="97886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0621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08B246-6A68-46BE-9DBD-614FA8CF4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E47706-8D18-4093-A7C1-F30D7543CE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C7C8FC-AAEA-4AB6-9DB5-2503F58F0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9F774-3FA6-43B8-9241-99959C8FD463}" type="datetime1">
              <a:rPr lang="en-US" smtClean="0"/>
              <a:t>9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B1616B-3F08-4869-A522-773C38940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30CE6-9124-4B3A-A912-AE16B5C3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3061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1BB59B6-79B9-97F5-AC3B-DF65899D39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78885-57B2-4930-BD7D-CBF916EDF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291366"/>
            <a:ext cx="9214884" cy="3159974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E495E4-2F8B-4CC7-88AC-A312067E60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080" y="5018567"/>
            <a:ext cx="7907079" cy="107388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585CC9-BAD3-4807-90BB-97DA2D6A6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04452-5DCC-4FE2-A5C9-8A5EF6714D65}" type="datetime1">
              <a:rPr lang="en-US" smtClean="0"/>
              <a:t>9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08CEF-165F-4D7E-9666-5CD0156B4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0EBC3D-3277-4D34-9F67-71040C21E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F05EAE5-4812-F718-6D75-962788418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16281" y="4715234"/>
            <a:ext cx="97886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684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477A4-4D01-45B6-9563-0BF13BA72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E17E00-96AC-45F0-82B2-9F601E9B93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0080" y="2633472"/>
            <a:ext cx="5212080" cy="3566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BA30CD-95C0-427B-A571-A7D8A53278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928" y="2633472"/>
            <a:ext cx="5212080" cy="3566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67CAC-53E4-44AF-BEAC-8FFB96F05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79ABC2-0180-4F3A-A895-A85BC724D472}" type="datetime1">
              <a:rPr lang="en-US" smtClean="0"/>
              <a:t>9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3D9F3A-E7F0-45E7-AFA8-0D4A669EC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5F008B-58BB-45FF-923F-5909DAB49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079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97B549-9E51-42E0-992A-73E775957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1371599"/>
            <a:ext cx="10890929" cy="9397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1A5FDC-7C4B-45FB-8462-E2CE79919F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079" y="2311352"/>
            <a:ext cx="5212080" cy="695373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D8B686-2E92-45B9-A3D7-9DCAA0C50B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079" y="3006725"/>
            <a:ext cx="5212080" cy="31912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ADB526-4A44-47B6-8D14-93202E590A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8928" y="2311352"/>
            <a:ext cx="5212080" cy="695373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4177CA-5C13-4311-BFD3-B98FBD942D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18928" y="3006725"/>
            <a:ext cx="5212080" cy="31912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DEA255A-4CB5-40CA-B756-1AA5E27C20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EEA9BA-4E8F-439E-BEA4-91FBA01E3F5F}" type="datetime1">
              <a:rPr lang="en-US" smtClean="0"/>
              <a:t>9/2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3072C4-10F1-49B8-B0BF-69204EDDC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5ACC97-44C1-4887-909B-E6732D3C1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8124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7D313-943A-47E0-8A7A-DFFBCC297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AC25A7-81C8-4AA1-AD9F-C78A451FD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5BF18-0007-481C-AA29-413124BC3EE7}" type="datetime1">
              <a:rPr lang="en-US" smtClean="0"/>
              <a:t>9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F54740-6022-46B2-9C55-B60E96516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497C9-6B5E-46D6-8FE9-0A5E0CF7F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162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149F9F0F-FB8C-5565-247C-BDCC156B5CA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740D3C-270A-401A-810C-2F86BBBB8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E9870-3748-43AD-B547-02A075CB4A1D}" type="datetime1">
              <a:rPr lang="en-US" smtClean="0"/>
              <a:t>9/2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CBE9F8-1765-4F36-A4DE-1DB136025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90CF9E-A6C6-4873-ADBE-7A2939319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246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8CDF8-00AD-4441-A6D5-9D7A659EB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371600"/>
            <a:ext cx="3859397" cy="1451723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30AF-CB7E-420A-AE8A-E02E903258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6519" y="1031001"/>
            <a:ext cx="6594490" cy="516636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3257AD-2422-4CDA-9C55-700F4B5BF2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0080" y="2972168"/>
            <a:ext cx="3859397" cy="322682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1B7454-C1CC-46F2-A6FB-1FE786C48F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E7897-33C5-4F1A-9307-D068E37F3DC7}" type="datetime1">
              <a:rPr lang="en-US" smtClean="0"/>
              <a:t>9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077DBE-6CC7-421B-AB5E-341E20BD9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6EAB8F-7526-4CDB-B782-FAD8B3E70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693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31647F-5A61-44C9-81DC-331C9AE5D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371600"/>
            <a:ext cx="3859397" cy="1451723"/>
          </a:xfrm>
        </p:spPr>
        <p:txBody>
          <a:bodyPr anchor="t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627A0F-F1B8-49BE-A0FF-7FE16E3BDC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937760" y="1033271"/>
            <a:ext cx="6592824" cy="5166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6D1BD6-1519-4431-9FAF-7D4F412997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0080" y="2972167"/>
            <a:ext cx="3859397" cy="322682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A587A0-353B-42C2-BA96-B1ADEDF642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171BA-CC09-47C8-A6DF-F5C5CB59CEEC}" type="datetime1">
              <a:rPr lang="en-US" smtClean="0"/>
              <a:t>9/2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D5A88E-3957-4B76-B1BE-416402921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F7C5FD-E56A-4C66-8F23-087F95A2F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0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81049EB-8A9C-8619-FB3A-0B4E9AE57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71706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73" imgH="473" progId="TCLayout.ActiveDocument.1">
                  <p:embed/>
                </p:oleObj>
              </mc:Choice>
              <mc:Fallback>
                <p:oleObj name="think-cell Folie" r:id="rId14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1049EB-8A9C-8619-FB3A-0B4E9AE57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AB4E786-7636-4278-8595-D365D28A7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1371601"/>
            <a:ext cx="10890929" cy="10972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740849-7059-4C70-992B-5304D2EE9B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0080" y="2633472"/>
            <a:ext cx="10890928" cy="35661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9FEBF6-CEA6-4332-87B3-697807571C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008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cap="all" spc="300" baseline="0">
                <a:solidFill>
                  <a:schemeClr val="tx1"/>
                </a:solidFill>
              </a:defRPr>
            </a:lvl1pPr>
          </a:lstStyle>
          <a:p>
            <a:fld id="{7DA38F49-B3E2-4BF0-BEC7-C30D34ABBB8D}" type="datetime1">
              <a:rPr lang="en-US" smtClean="0"/>
              <a:t>9/2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6BAF94-621C-43E1-BA0C-410A689903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67622" y="6356350"/>
            <a:ext cx="40403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cap="all" spc="300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D19E5-9E16-48C9-AAE2-0C70679A8D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7995" y="6356350"/>
            <a:ext cx="7230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cap="all" spc="300" baseline="0">
                <a:solidFill>
                  <a:schemeClr val="tx1"/>
                </a:solidFill>
              </a:defRPr>
            </a:lvl1pPr>
          </a:lstStyle>
          <a:p>
            <a:fld id="{70C12960-6E85-460F-B6E3-5B82CB31AF3D}" type="slidenum">
              <a:rPr lang="en-US" smtClean="0"/>
              <a:t>‹Nr.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8E06E4-607B-144B-382B-AD3D06B1EE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13232" y="1031001"/>
            <a:ext cx="97886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94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79" r:id="rId6"/>
    <p:sldLayoutId id="2147483675" r:id="rId7"/>
    <p:sldLayoutId id="2147483676" r:id="rId8"/>
    <p:sldLayoutId id="2147483677" r:id="rId9"/>
    <p:sldLayoutId id="2147483678" r:id="rId10"/>
    <p:sldLayoutId id="2147483680" r:id="rId1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87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3776" indent="-228600" algn="l" defTabSz="914400" rtl="0" eaLnBrk="1" latinLnBrk="0" hangingPunct="1">
        <a:lnSpc>
          <a:spcPct val="120000"/>
        </a:lnSpc>
        <a:spcBef>
          <a:spcPts val="500"/>
        </a:spcBef>
        <a:buSzPct val="87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120000"/>
        </a:lnSpc>
        <a:spcBef>
          <a:spcPts val="500"/>
        </a:spcBef>
        <a:buSzPct val="87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51560" indent="-285750" algn="l" defTabSz="914400" rtl="0" eaLnBrk="1" latinLnBrk="0" hangingPunct="1">
        <a:lnSpc>
          <a:spcPct val="120000"/>
        </a:lnSpc>
        <a:spcBef>
          <a:spcPts val="500"/>
        </a:spcBef>
        <a:buSzPct val="87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228600" algn="l" defTabSz="914400" rtl="0" eaLnBrk="1" latinLnBrk="0" hangingPunct="1">
        <a:lnSpc>
          <a:spcPct val="120000"/>
        </a:lnSpc>
        <a:spcBef>
          <a:spcPts val="500"/>
        </a:spcBef>
        <a:buSzPct val="87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9C916F8-529C-5DBF-B5F7-A2DDC2C5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80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C916F8-529C-5DBF-B5F7-A2DDC2C5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9F9BF86-FE94-4517-B97D-026C7515E5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Pastellfarben im Oberflächenverlaufsdesign">
            <a:extLst>
              <a:ext uri="{FF2B5EF4-FFF2-40B4-BE49-F238E27FC236}">
                <a16:creationId xmlns:a16="http://schemas.microsoft.com/office/drawing/2014/main" id="{41BBD243-3EFA-B36B-7881-A343DD85FA0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8917" b="6813"/>
          <a:stretch>
            <a:fillRect/>
          </a:stretch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22AB34F-E75C-451A-8410-05B6C249E9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3648484" y="0"/>
            <a:ext cx="8543515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58000">
                <a:srgbClr val="000000">
                  <a:alpha val="55000"/>
                </a:srgbClr>
              </a:gs>
              <a:gs pos="93000">
                <a:srgbClr val="000000">
                  <a:alpha val="64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B6E94-CCF9-A288-9121-F3A162F611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38061" y="914400"/>
            <a:ext cx="4892948" cy="3427867"/>
          </a:xfrm>
        </p:spPr>
        <p:txBody>
          <a:bodyPr vert="horz" anchor="t">
            <a:normAutofit/>
          </a:bodyPr>
          <a:lstStyle/>
          <a:p>
            <a:pPr algn="r"/>
            <a:r>
              <a:rPr lang="de-DE" b="0" dirty="0"/>
              <a:t>Regional Sales Summary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6C7EBCC-0959-E21D-B170-4C6DE8692C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89835" y="5253051"/>
            <a:ext cx="4941173" cy="812923"/>
          </a:xfrm>
        </p:spPr>
        <p:txBody>
          <a:bodyPr anchor="t">
            <a:normAutofit fontScale="92500" lnSpcReduction="10000"/>
          </a:bodyPr>
          <a:lstStyle/>
          <a:p>
            <a:pPr algn="r"/>
            <a:r>
              <a:rPr lang="de-DE" dirty="0">
                <a:solidFill>
                  <a:srgbClr val="FFFFFF"/>
                </a:solidFill>
              </a:rPr>
              <a:t>R. Buntrock</a:t>
            </a:r>
          </a:p>
          <a:p>
            <a:pPr algn="r"/>
            <a:r>
              <a:rPr lang="de-DE" dirty="0">
                <a:solidFill>
                  <a:srgbClr val="FFFFFF"/>
                </a:solidFill>
              </a:rPr>
              <a:t>23.09.2025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7CC2FE6-3AD0-4131-B4BC-1F4D65E25E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0438375" y="4861206"/>
            <a:ext cx="978862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567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3C62302-30E2-447D-48D4-0E34B1DBBB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257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C62302-30E2-447D-48D4-0E34B1DBB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026B06D-1101-0112-C793-10D270091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ales </a:t>
            </a:r>
            <a:r>
              <a:rPr lang="de-DE" dirty="0" err="1"/>
              <a:t>by</a:t>
            </a:r>
            <a:r>
              <a:rPr lang="de-DE" dirty="0"/>
              <a:t> US Reg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C88D6B7-2621-B3D9-60B0-D10908C94C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79" y="2633472"/>
            <a:ext cx="6317311" cy="3566160"/>
          </a:xfrm>
        </p:spPr>
        <p:txBody>
          <a:bodyPr>
            <a:normAutofit/>
          </a:bodyPr>
          <a:lstStyle/>
          <a:p>
            <a:r>
              <a:rPr lang="en-US" dirty="0"/>
              <a:t>The West region is the strongest region, while the Northeast is trailing at around 17% in total sales</a:t>
            </a:r>
          </a:p>
          <a:p>
            <a:r>
              <a:rPr lang="en-US" dirty="0"/>
              <a:t>California leads by a wide margin, generating about $230 M in revenue more than twice the next-highest state.</a:t>
            </a:r>
          </a:p>
          <a:p>
            <a:r>
              <a:rPr lang="en-US" dirty="0"/>
              <a:t>Illinois, Florida, and Texas form a second group, each generating around $85–110 M in revenue</a:t>
            </a:r>
          </a:p>
        </p:txBody>
      </p:sp>
      <p:pic>
        <p:nvPicPr>
          <p:cNvPr id="6150" name="Picture 6">
            <a:extLst>
              <a:ext uri="{FF2B5EF4-FFF2-40B4-BE49-F238E27FC236}">
                <a16:creationId xmlns:a16="http://schemas.microsoft.com/office/drawing/2014/main" id="{FE018B4C-9193-A9F3-61C3-8474A938A9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2497" y="4337688"/>
            <a:ext cx="4279416" cy="2142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>
            <a:extLst>
              <a:ext uri="{FF2B5EF4-FFF2-40B4-BE49-F238E27FC236}">
                <a16:creationId xmlns:a16="http://schemas.microsoft.com/office/drawing/2014/main" id="{7BBF21E5-1327-5235-5CD0-0A7C077D1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828" y="482084"/>
            <a:ext cx="3557173" cy="3594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1908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186FE7E-1266-87AC-2EA0-C998C55D4D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964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86FE7E-1266-87AC-2EA0-C998C55D4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8B66CFF-D36F-7AEF-5949-3A73D50C0B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Historical Sales </a:t>
            </a:r>
            <a:r>
              <a:rPr lang="de-DE" dirty="0" err="1"/>
              <a:t>by</a:t>
            </a:r>
            <a:r>
              <a:rPr lang="de-DE" dirty="0"/>
              <a:t> US Reg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1B2C212-D6D4-3573-356F-92B7139165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633472"/>
            <a:ext cx="5528807" cy="3566160"/>
          </a:xfrm>
        </p:spPr>
        <p:txBody>
          <a:bodyPr/>
          <a:lstStyle/>
          <a:p>
            <a:r>
              <a:rPr lang="de-DE" dirty="0"/>
              <a:t>West </a:t>
            </a:r>
            <a:r>
              <a:rPr lang="de-DE" dirty="0" err="1"/>
              <a:t>region</a:t>
            </a:r>
            <a:r>
              <a:rPr lang="de-DE" dirty="0"/>
              <a:t> </a:t>
            </a:r>
            <a:r>
              <a:rPr lang="de-DE" dirty="0" err="1"/>
              <a:t>show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ighest</a:t>
            </a:r>
            <a:r>
              <a:rPr lang="de-DE" dirty="0"/>
              <a:t> </a:t>
            </a:r>
            <a:r>
              <a:rPr lang="de-DE" dirty="0" err="1"/>
              <a:t>revenu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lmost</a:t>
            </a:r>
            <a:r>
              <a:rPr lang="de-DE" dirty="0"/>
              <a:t> all </a:t>
            </a:r>
            <a:r>
              <a:rPr lang="de-DE" dirty="0" err="1"/>
              <a:t>months</a:t>
            </a:r>
            <a:r>
              <a:rPr lang="de-DE" dirty="0"/>
              <a:t>,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ortheas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sistent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west</a:t>
            </a:r>
            <a:endParaRPr lang="de-DE" dirty="0"/>
          </a:p>
          <a:p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region</a:t>
            </a:r>
            <a:r>
              <a:rPr lang="de-DE" dirty="0"/>
              <a:t> </a:t>
            </a:r>
            <a:r>
              <a:rPr lang="de-DE" dirty="0" err="1"/>
              <a:t>shows</a:t>
            </a:r>
            <a:r>
              <a:rPr lang="de-DE" dirty="0"/>
              <a:t> a </a:t>
            </a:r>
            <a:r>
              <a:rPr lang="de-DE" dirty="0" err="1"/>
              <a:t>particular</a:t>
            </a:r>
            <a:r>
              <a:rPr lang="de-DE" dirty="0"/>
              <a:t> </a:t>
            </a:r>
            <a:r>
              <a:rPr lang="de-DE" dirty="0" err="1"/>
              <a:t>upward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downward</a:t>
            </a:r>
            <a:r>
              <a:rPr lang="de-DE" dirty="0"/>
              <a:t> </a:t>
            </a:r>
            <a:r>
              <a:rPr lang="de-DE" dirty="0" err="1"/>
              <a:t>trend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nalyzed</a:t>
            </a:r>
            <a:r>
              <a:rPr lang="de-DE" dirty="0"/>
              <a:t> </a:t>
            </a:r>
            <a:r>
              <a:rPr lang="de-DE" dirty="0" err="1"/>
              <a:t>period</a:t>
            </a:r>
            <a:endParaRPr lang="de-DE" dirty="0"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63FC64B7-F0C0-3A2F-BE0D-46DF247689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744" y="2579139"/>
            <a:ext cx="5762418" cy="3620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56037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F442F6B-C1D4-2BA7-25DD-04C8FA8EA5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64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442F6B-C1D4-2BA7-25DD-04C8FA8EA5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7669195-865D-00C7-63F6-6E1BB54A0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op and Bottom </a:t>
            </a:r>
            <a:r>
              <a:rPr lang="de-DE" dirty="0" err="1"/>
              <a:t>performing</a:t>
            </a:r>
            <a:r>
              <a:rPr lang="de-DE" dirty="0"/>
              <a:t> SKUs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9DDE35C6-AFEB-25A5-9D47-98DA5A417C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715" y="2633472"/>
            <a:ext cx="5870181" cy="3566160"/>
          </a:xfrm>
        </p:spPr>
        <p:txBody>
          <a:bodyPr>
            <a:normAutofit/>
          </a:bodyPr>
          <a:lstStyle/>
          <a:p>
            <a:r>
              <a:rPr lang="de-DE" dirty="0"/>
              <a:t>The top </a:t>
            </a:r>
            <a:r>
              <a:rPr lang="de-DE" dirty="0" err="1"/>
              <a:t>performing</a:t>
            </a:r>
            <a:r>
              <a:rPr lang="de-DE" dirty="0"/>
              <a:t> SKUs </a:t>
            </a:r>
            <a:r>
              <a:rPr lang="de-DE" dirty="0" err="1"/>
              <a:t>generate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8k USD,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Product</a:t>
            </a:r>
            <a:r>
              <a:rPr lang="de-DE" dirty="0"/>
              <a:t> 18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lead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8531 USD.</a:t>
            </a:r>
          </a:p>
          <a:p>
            <a:r>
              <a:rPr lang="de-DE" dirty="0"/>
              <a:t>The </a:t>
            </a:r>
            <a:r>
              <a:rPr lang="de-DE" dirty="0" err="1"/>
              <a:t>lowest</a:t>
            </a:r>
            <a:r>
              <a:rPr lang="de-DE" dirty="0"/>
              <a:t> </a:t>
            </a:r>
            <a:r>
              <a:rPr lang="de-DE" dirty="0" err="1"/>
              <a:t>grossing</a:t>
            </a:r>
            <a:r>
              <a:rPr lang="de-DE" dirty="0"/>
              <a:t> </a:t>
            </a:r>
            <a:r>
              <a:rPr lang="de-DE" dirty="0" err="1"/>
              <a:t>produc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generating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6600 USD on </a:t>
            </a:r>
            <a:r>
              <a:rPr lang="de-DE" dirty="0" err="1"/>
              <a:t>average</a:t>
            </a:r>
            <a:r>
              <a:rPr lang="de-DE" dirty="0"/>
              <a:t>,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6063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oduct</a:t>
            </a:r>
            <a:r>
              <a:rPr lang="de-DE" dirty="0"/>
              <a:t> 29.</a:t>
            </a:r>
          </a:p>
          <a:p>
            <a:r>
              <a:rPr lang="de-DE" dirty="0"/>
              <a:t>Understand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st</a:t>
            </a:r>
            <a:r>
              <a:rPr lang="de-DE" dirty="0"/>
              <a:t> and pricing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roducts</a:t>
            </a:r>
            <a:r>
              <a:rPr lang="de-DE" dirty="0"/>
              <a:t>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positively</a:t>
            </a:r>
            <a:r>
              <a:rPr lang="de-DE" dirty="0"/>
              <a:t> </a:t>
            </a:r>
            <a:r>
              <a:rPr lang="de-DE" dirty="0" err="1"/>
              <a:t>impac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ottom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.</a:t>
            </a:r>
          </a:p>
        </p:txBody>
      </p:sp>
      <p:pic>
        <p:nvPicPr>
          <p:cNvPr id="1042" name="Picture 18">
            <a:extLst>
              <a:ext uri="{FF2B5EF4-FFF2-40B4-BE49-F238E27FC236}">
                <a16:creationId xmlns:a16="http://schemas.microsoft.com/office/drawing/2014/main" id="{DF24C5BC-1913-F338-3910-82F452395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167" y="2633472"/>
            <a:ext cx="3905250" cy="3714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02926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6D76DD-A2C5-03F6-74C8-A25B9B3CB8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128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D76DD-A2C5-03F6-74C8-A25B9B3CB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6DD9B10-D6AA-5402-03F7-426DBC058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ales </a:t>
            </a:r>
            <a:r>
              <a:rPr lang="de-DE" dirty="0" err="1"/>
              <a:t>by</a:t>
            </a:r>
            <a:r>
              <a:rPr lang="de-DE" dirty="0"/>
              <a:t> Chann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F7799C-7C42-1FEB-1521-A7C2F476CB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633472"/>
            <a:ext cx="4925833" cy="3566160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holesale channels contribute 54% of total sales, followed by distributors at approximately 31% and exports at 15%, highlighting a strong dependence on domestic bulk sales.</a:t>
            </a:r>
          </a:p>
          <a:p>
            <a:r>
              <a:rPr lang="en-US" b="1" dirty="0"/>
              <a:t>To reduce revenue concentration and enhance resilience, focus on expanding export operations through targeted international marketing and cultivating strategic partnerships abroad.</a:t>
            </a:r>
            <a:endParaRPr lang="en-US" dirty="0"/>
          </a:p>
          <a:p>
            <a:endParaRPr lang="de-DE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2349420-AC99-2CE6-BAC3-E8A9AE19B2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5416" y="2246242"/>
            <a:ext cx="4079599" cy="4079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83591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F5C3877-4200-20A3-F0D2-B593CA0308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2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5C3877-4200-20A3-F0D2-B593CA030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6DFA657-9CE2-687F-19F6-E2FAA59C0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ustomer Rank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F0B7AA-86CC-7D7F-4836-BBC583FA61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633472"/>
            <a:ext cx="5515555" cy="3566160"/>
          </a:xfrm>
        </p:spPr>
        <p:txBody>
          <a:bodyPr/>
          <a:lstStyle/>
          <a:p>
            <a:r>
              <a:rPr lang="de-DE" dirty="0" err="1"/>
              <a:t>Aibox</a:t>
            </a:r>
            <a:r>
              <a:rPr lang="de-DE" dirty="0"/>
              <a:t> Company and State Ltd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customer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ighest</a:t>
            </a:r>
            <a:r>
              <a:rPr lang="de-DE" dirty="0"/>
              <a:t> </a:t>
            </a:r>
            <a:r>
              <a:rPr lang="de-DE" dirty="0" err="1"/>
              <a:t>revenu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a </a:t>
            </a:r>
            <a:r>
              <a:rPr lang="de-DE" dirty="0" err="1"/>
              <a:t>wide</a:t>
            </a:r>
            <a:r>
              <a:rPr lang="de-DE" dirty="0"/>
              <a:t> </a:t>
            </a:r>
            <a:r>
              <a:rPr lang="de-DE" dirty="0" err="1"/>
              <a:t>margin</a:t>
            </a:r>
            <a:r>
              <a:rPr lang="de-DE" dirty="0"/>
              <a:t>. </a:t>
            </a:r>
            <a:r>
              <a:rPr lang="de-DE" dirty="0" err="1"/>
              <a:t>Closely</a:t>
            </a:r>
            <a:r>
              <a:rPr lang="de-DE" dirty="0"/>
              <a:t> </a:t>
            </a:r>
            <a:r>
              <a:rPr lang="de-DE" dirty="0" err="1"/>
              <a:t>follow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a </a:t>
            </a:r>
            <a:r>
              <a:rPr lang="de-DE" dirty="0" err="1"/>
              <a:t>group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around</a:t>
            </a:r>
            <a:r>
              <a:rPr lang="de-DE" dirty="0"/>
              <a:t> $10-11M.</a:t>
            </a:r>
          </a:p>
          <a:p>
            <a:r>
              <a:rPr lang="de-DE" dirty="0"/>
              <a:t>The </a:t>
            </a:r>
            <a:r>
              <a:rPr lang="de-DE" dirty="0" err="1"/>
              <a:t>bottom</a:t>
            </a:r>
            <a:r>
              <a:rPr lang="de-DE" dirty="0"/>
              <a:t> 10 </a:t>
            </a:r>
            <a:r>
              <a:rPr lang="de-DE" dirty="0" err="1"/>
              <a:t>customers</a:t>
            </a:r>
            <a:r>
              <a:rPr lang="de-DE" dirty="0"/>
              <a:t> </a:t>
            </a:r>
            <a:r>
              <a:rPr lang="de-DE" dirty="0" err="1"/>
              <a:t>generate</a:t>
            </a:r>
            <a:r>
              <a:rPr lang="de-DE" dirty="0"/>
              <a:t> </a:t>
            </a:r>
            <a:r>
              <a:rPr lang="de-DE" dirty="0" err="1"/>
              <a:t>around</a:t>
            </a:r>
            <a:r>
              <a:rPr lang="de-DE" dirty="0"/>
              <a:t> $5M in </a:t>
            </a:r>
            <a:r>
              <a:rPr lang="de-DE" dirty="0" err="1"/>
              <a:t>revenue</a:t>
            </a:r>
            <a:r>
              <a:rPr lang="de-DE" dirty="0"/>
              <a:t>,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mallest</a:t>
            </a:r>
            <a:r>
              <a:rPr lang="de-DE" dirty="0"/>
              <a:t> </a:t>
            </a:r>
            <a:r>
              <a:rPr lang="de-DE" dirty="0" err="1"/>
              <a:t>custom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BB17 Company </a:t>
            </a:r>
            <a:r>
              <a:rPr lang="de-DE" dirty="0" err="1"/>
              <a:t>with</a:t>
            </a:r>
            <a:r>
              <a:rPr lang="de-DE" dirty="0"/>
              <a:t> $4M.</a:t>
            </a:r>
          </a:p>
        </p:txBody>
      </p:sp>
      <p:pic>
        <p:nvPicPr>
          <p:cNvPr id="10246" name="Picture 6">
            <a:extLst>
              <a:ext uri="{FF2B5EF4-FFF2-40B4-BE49-F238E27FC236}">
                <a16:creationId xmlns:a16="http://schemas.microsoft.com/office/drawing/2014/main" id="{FC8C5ED9-8CED-EE12-68A8-4741CE1D02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141" y="1238250"/>
            <a:ext cx="5657850" cy="561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59672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E9C1923-7C8B-EF3B-F1E8-1110ED227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54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9C1923-7C8B-EF3B-F1E8-1110ED227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8486985-7E6E-5271-4E0D-675687EC4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ustomer Segment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59122C-771B-D248-3C13-1F84BDA828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633472"/>
            <a:ext cx="6734755" cy="3566160"/>
          </a:xfrm>
        </p:spPr>
        <p:txBody>
          <a:bodyPr>
            <a:normAutofit fontScale="92500" lnSpcReduction="10000"/>
          </a:bodyPr>
          <a:lstStyle/>
          <a:p>
            <a:r>
              <a:rPr lang="de-DE" dirty="0"/>
              <a:t>All </a:t>
            </a:r>
            <a:r>
              <a:rPr lang="de-DE" dirty="0" err="1"/>
              <a:t>customers</a:t>
            </a:r>
            <a:r>
              <a:rPr lang="de-DE" dirty="0"/>
              <a:t> </a:t>
            </a:r>
            <a:r>
              <a:rPr lang="de-DE" dirty="0" err="1"/>
              <a:t>purchase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all 3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channel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varying</a:t>
            </a:r>
            <a:r>
              <a:rPr lang="de-DE" dirty="0"/>
              <a:t> </a:t>
            </a:r>
            <a:r>
              <a:rPr lang="de-DE" dirty="0" err="1"/>
              <a:t>degree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Customers </a:t>
            </a:r>
            <a:r>
              <a:rPr lang="de-DE" dirty="0" err="1"/>
              <a:t>ordering</a:t>
            </a:r>
            <a:r>
              <a:rPr lang="de-DE" dirty="0"/>
              <a:t> via Export </a:t>
            </a:r>
            <a:r>
              <a:rPr lang="de-DE" dirty="0" err="1"/>
              <a:t>te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smaller</a:t>
            </a:r>
            <a:r>
              <a:rPr lang="de-DE" dirty="0"/>
              <a:t> </a:t>
            </a:r>
            <a:r>
              <a:rPr lang="de-DE" dirty="0" err="1"/>
              <a:t>volumes</a:t>
            </a:r>
            <a:r>
              <a:rPr lang="de-DE" dirty="0"/>
              <a:t> &lt;$2 M at </a:t>
            </a:r>
            <a:r>
              <a:rPr lang="de-DE" dirty="0" err="1"/>
              <a:t>highly</a:t>
            </a:r>
            <a:r>
              <a:rPr lang="de-DE" dirty="0"/>
              <a:t> variable </a:t>
            </a:r>
            <a:r>
              <a:rPr lang="de-DE" dirty="0" err="1"/>
              <a:t>profit</a:t>
            </a:r>
            <a:r>
              <a:rPr lang="de-DE" dirty="0"/>
              <a:t> </a:t>
            </a:r>
            <a:r>
              <a:rPr lang="de-DE" dirty="0" err="1"/>
              <a:t>margins</a:t>
            </a:r>
            <a:r>
              <a:rPr lang="de-DE" dirty="0"/>
              <a:t> (%)</a:t>
            </a:r>
          </a:p>
          <a:p>
            <a:r>
              <a:rPr lang="en-US" dirty="0"/>
              <a:t>Customers purchasing over $3 M tend to buy through Wholesale channels at stable margins (~34–40%), suggesting consistent pricing in this tier.</a:t>
            </a:r>
          </a:p>
        </p:txBody>
      </p:sp>
      <p:pic>
        <p:nvPicPr>
          <p:cNvPr id="7172" name="Picture 4">
            <a:extLst>
              <a:ext uri="{FF2B5EF4-FFF2-40B4-BE49-F238E27FC236}">
                <a16:creationId xmlns:a16="http://schemas.microsoft.com/office/drawing/2014/main" id="{F1E02E08-1A2F-CE30-251D-FFC5C80C6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9757" y="196133"/>
            <a:ext cx="4161182" cy="2955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5FE7BBDD-C933-C7CD-93C4-039103CBED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9757" y="3429000"/>
            <a:ext cx="4161183" cy="2955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40549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69685F-03B9-7C9A-3EA5-3E60C46D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227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69685F-03B9-7C9A-3EA5-3E60C46D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65A76B3-1F24-5B73-B3F9-A5B48F303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ey </a:t>
            </a:r>
            <a:r>
              <a:rPr lang="de-DE" dirty="0" err="1"/>
              <a:t>insight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847804A-524F-ABDB-FEC7-0437400504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verage </a:t>
            </a:r>
            <a:r>
              <a:rPr lang="de-DE" dirty="0" err="1"/>
              <a:t>revenu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sistent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years</a:t>
            </a:r>
            <a:r>
              <a:rPr lang="de-DE" dirty="0"/>
              <a:t> </a:t>
            </a:r>
            <a:r>
              <a:rPr lang="de-DE" dirty="0" err="1"/>
              <a:t>among</a:t>
            </a:r>
            <a:r>
              <a:rPr lang="de-DE" dirty="0"/>
              <a:t> </a:t>
            </a:r>
            <a:r>
              <a:rPr lang="de-DE" dirty="0" err="1"/>
              <a:t>regions</a:t>
            </a:r>
            <a:r>
              <a:rPr lang="de-DE" dirty="0"/>
              <a:t> and different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channels</a:t>
            </a:r>
            <a:endParaRPr lang="de-DE" dirty="0"/>
          </a:p>
          <a:p>
            <a:r>
              <a:rPr lang="de-DE" dirty="0"/>
              <a:t>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year</a:t>
            </a:r>
            <a:r>
              <a:rPr lang="de-DE" dirty="0"/>
              <a:t> </a:t>
            </a:r>
            <a:r>
              <a:rPr lang="de-DE" dirty="0" err="1"/>
              <a:t>shows</a:t>
            </a:r>
            <a:r>
              <a:rPr lang="de-DE" dirty="0"/>
              <a:t> </a:t>
            </a:r>
            <a:r>
              <a:rPr lang="de-DE" dirty="0" err="1"/>
              <a:t>consistently</a:t>
            </a:r>
            <a:r>
              <a:rPr lang="de-DE" dirty="0"/>
              <a:t> high </a:t>
            </a:r>
            <a:r>
              <a:rPr lang="de-DE" dirty="0" err="1"/>
              <a:t>revenue</a:t>
            </a:r>
            <a:r>
              <a:rPr lang="de-DE" dirty="0"/>
              <a:t>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maining</a:t>
            </a:r>
            <a:r>
              <a:rPr lang="de-DE" dirty="0"/>
              <a:t> </a:t>
            </a:r>
            <a:r>
              <a:rPr lang="de-DE" dirty="0" err="1"/>
              <a:t>months</a:t>
            </a:r>
            <a:r>
              <a:rPr lang="de-DE" dirty="0"/>
              <a:t> </a:t>
            </a:r>
            <a:r>
              <a:rPr lang="de-DE" dirty="0" err="1"/>
              <a:t>fluctuate</a:t>
            </a:r>
            <a:endParaRPr lang="de-DE" dirty="0"/>
          </a:p>
          <a:p>
            <a:r>
              <a:rPr lang="de-DE" dirty="0"/>
              <a:t>West </a:t>
            </a:r>
            <a:r>
              <a:rPr lang="de-DE" dirty="0" err="1"/>
              <a:t>region</a:t>
            </a:r>
            <a:r>
              <a:rPr lang="de-DE" dirty="0"/>
              <a:t> </a:t>
            </a:r>
            <a:r>
              <a:rPr lang="de-DE" dirty="0" err="1"/>
              <a:t>generat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ighest</a:t>
            </a:r>
            <a:r>
              <a:rPr lang="de-DE" dirty="0"/>
              <a:t> </a:t>
            </a:r>
            <a:r>
              <a:rPr lang="de-DE" dirty="0" err="1"/>
              <a:t>revenu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alifornia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rongest</a:t>
            </a:r>
            <a:r>
              <a:rPr lang="de-DE" dirty="0"/>
              <a:t> </a:t>
            </a:r>
            <a:r>
              <a:rPr lang="de-DE" dirty="0" err="1"/>
              <a:t>state</a:t>
            </a:r>
            <a:r>
              <a:rPr lang="de-DE" dirty="0"/>
              <a:t>.</a:t>
            </a:r>
          </a:p>
          <a:p>
            <a:r>
              <a:rPr lang="de-DE" dirty="0" err="1"/>
              <a:t>Northeast</a:t>
            </a:r>
            <a:r>
              <a:rPr lang="de-DE" dirty="0"/>
              <a:t> Region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lowest</a:t>
            </a:r>
            <a:r>
              <a:rPr lang="de-DE" dirty="0"/>
              <a:t> </a:t>
            </a:r>
            <a:r>
              <a:rPr lang="de-DE" dirty="0" err="1"/>
              <a:t>performer</a:t>
            </a:r>
            <a:endParaRPr lang="de-DE" dirty="0"/>
          </a:p>
          <a:p>
            <a:r>
              <a:rPr lang="de-DE" dirty="0" err="1"/>
              <a:t>Largest</a:t>
            </a:r>
            <a:r>
              <a:rPr lang="de-DE" dirty="0"/>
              <a:t>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Wholesale</a:t>
            </a:r>
            <a:r>
              <a:rPr lang="de-DE" dirty="0"/>
              <a:t>, </a:t>
            </a:r>
            <a:r>
              <a:rPr lang="de-DE" dirty="0" err="1"/>
              <a:t>export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we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05536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F421D67-B8C5-A6A0-EBE3-B36AC93F7F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16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421D67-B8C5-A6A0-EBE3-B36AC93F7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87EBAF0-456C-9EB3-9FCF-5960DC46B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 err="1"/>
              <a:t>Recommendatio</a:t>
            </a:r>
            <a:r>
              <a:rPr lang="de-DE" dirty="0" err="1"/>
              <a:t>n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18B055B-D851-4E56-9585-4E3FC23685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st sales in Northeast through marketing.</a:t>
            </a:r>
          </a:p>
          <a:p>
            <a:r>
              <a:rPr lang="en-US" dirty="0"/>
              <a:t>Anticipate the fluctuations and decrease inventory or increase sales activities.</a:t>
            </a:r>
          </a:p>
          <a:p>
            <a:r>
              <a:rPr lang="en-US" dirty="0"/>
              <a:t>improve cost structure for low performing SKUs</a:t>
            </a:r>
          </a:p>
          <a:p>
            <a:r>
              <a:rPr lang="en-US" dirty="0"/>
              <a:t>Grow export channel to rely less on Wholesale</a:t>
            </a:r>
          </a:p>
          <a:p>
            <a:r>
              <a:rPr lang="en-US" dirty="0"/>
              <a:t>Maintain relationships with TOP 10 customers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375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CD93B2A-4AB6-CCAB-59B8-091A1EA0A6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569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D93B2A-4AB6-CCAB-59B8-091A1EA0A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FC39FBD-E237-F37C-BCAC-E2E1D23F6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0" dirty="0"/>
              <a:t>Regional Sales Summary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B3C0F5-2A6A-A2C3-CC80-5E3886C38B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/>
              <a:t>Problem Statement</a:t>
            </a:r>
          </a:p>
          <a:p>
            <a:r>
              <a:rPr lang="en-US" dirty="0" err="1"/>
              <a:t>analyse</a:t>
            </a:r>
            <a:r>
              <a:rPr lang="en-US" dirty="0"/>
              <a:t> and visualize regional sales data to understand inconsistent revenue and profit performance across U.S. regions</a:t>
            </a:r>
          </a:p>
          <a:p>
            <a:r>
              <a:rPr lang="en-US" dirty="0"/>
              <a:t>evaluate profitability for top SKUs, and channel profitability</a:t>
            </a:r>
          </a:p>
          <a:p>
            <a:r>
              <a:rPr lang="en-US" dirty="0"/>
              <a:t>support strategic decision-making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Goal</a:t>
            </a:r>
          </a:p>
          <a:p>
            <a:r>
              <a:rPr lang="en-US" b="1" dirty="0"/>
              <a:t>Leverage 5 years of historical data to pinpoint growth levers and optimize strategy</a:t>
            </a:r>
          </a:p>
          <a:p>
            <a:endParaRPr lang="en-US" b="1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5355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C53BB02-C7C1-C941-677B-0E5A077AB6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6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53BB02-C7C1-C941-677B-0E5A077AB6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B71800B-68B1-4CDD-3A04-435CCB203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roject Workflow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D77B0080-0EE8-9BF0-A6D9-69ED642172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352255"/>
              </p:ext>
            </p:extLst>
          </p:nvPr>
        </p:nvGraphicFramePr>
        <p:xfrm>
          <a:off x="285002" y="2071996"/>
          <a:ext cx="11601082" cy="38719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5337970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930CEF-0EE8-6DB6-04C6-525311B017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924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930CEF-0EE8-6DB6-04C6-525311B01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F62C7-C014-9093-7CD4-EF04C8393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pproa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2FC79C-302E-09F2-5ACF-1C27A71C62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dataset</a:t>
            </a:r>
            <a:r>
              <a:rPr lang="de-DE" dirty="0"/>
              <a:t> was </a:t>
            </a:r>
            <a:r>
              <a:rPr lang="de-DE" dirty="0" err="1"/>
              <a:t>loaded</a:t>
            </a:r>
            <a:r>
              <a:rPr lang="de-DE" dirty="0"/>
              <a:t> </a:t>
            </a:r>
            <a:r>
              <a:rPr lang="de-DE" dirty="0" err="1"/>
              <a:t>analyzed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Python‘s</a:t>
            </a:r>
            <a:r>
              <a:rPr lang="de-DE" dirty="0"/>
              <a:t> </a:t>
            </a:r>
            <a:r>
              <a:rPr lang="de-DE" dirty="0" err="1"/>
              <a:t>pandas</a:t>
            </a:r>
            <a:r>
              <a:rPr lang="de-DE" dirty="0"/>
              <a:t> </a:t>
            </a:r>
            <a:r>
              <a:rPr lang="de-DE" dirty="0" err="1"/>
              <a:t>library</a:t>
            </a:r>
            <a:r>
              <a:rPr lang="de-DE" dirty="0"/>
              <a:t>. </a:t>
            </a:r>
            <a:r>
              <a:rPr lang="de-DE" dirty="0" err="1"/>
              <a:t>Matplotlib</a:t>
            </a:r>
            <a:r>
              <a:rPr lang="de-DE" dirty="0"/>
              <a:t> and </a:t>
            </a:r>
            <a:r>
              <a:rPr lang="de-DE" dirty="0" err="1"/>
              <a:t>Seaborn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isualisations</a:t>
            </a:r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data</a:t>
            </a:r>
            <a:r>
              <a:rPr lang="de-DE" dirty="0"/>
              <a:t> was </a:t>
            </a:r>
            <a:r>
              <a:rPr lang="de-DE" dirty="0" err="1"/>
              <a:t>loaded</a:t>
            </a:r>
            <a:r>
              <a:rPr lang="de-DE" dirty="0"/>
              <a:t>, </a:t>
            </a:r>
            <a:r>
              <a:rPr lang="de-DE" dirty="0" err="1"/>
              <a:t>merge</a:t>
            </a:r>
            <a:r>
              <a:rPr lang="de-DE" dirty="0"/>
              <a:t> and </a:t>
            </a:r>
            <a:r>
              <a:rPr lang="de-DE" dirty="0" err="1"/>
              <a:t>check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uplicates</a:t>
            </a:r>
            <a:r>
              <a:rPr lang="de-DE" dirty="0"/>
              <a:t>, </a:t>
            </a:r>
            <a:r>
              <a:rPr lang="de-DE" dirty="0" err="1"/>
              <a:t>outli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issing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r>
              <a:rPr lang="de-DE" dirty="0"/>
              <a:t>Time-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plots</a:t>
            </a:r>
            <a:r>
              <a:rPr lang="de-DE" dirty="0"/>
              <a:t> and bar </a:t>
            </a:r>
            <a:r>
              <a:rPr lang="de-DE" dirty="0" err="1"/>
              <a:t>charts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isualizations</a:t>
            </a:r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findings</a:t>
            </a:r>
            <a:r>
              <a:rPr lang="de-DE" dirty="0"/>
              <a:t> and </a:t>
            </a:r>
            <a:r>
              <a:rPr lang="de-DE" dirty="0" err="1"/>
              <a:t>recommendation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presented</a:t>
            </a:r>
            <a:r>
              <a:rPr lang="de-DE" dirty="0"/>
              <a:t> 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3574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6A96E6-B524-FC32-A055-371F95F6AD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9094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6A96E6-B524-FC32-A055-371F95F6AD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9F5F40A-B537-F8F3-B57C-3FECCE518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Data Overview</a:t>
            </a:r>
            <a:endParaRPr lang="de-DE" dirty="0"/>
          </a:p>
        </p:txBody>
      </p:sp>
      <p:sp>
        <p:nvSpPr>
          <p:cNvPr id="45" name="Inhaltsplatzhalter 44">
            <a:extLst>
              <a:ext uri="{FF2B5EF4-FFF2-40B4-BE49-F238E27FC236}">
                <a16:creationId xmlns:a16="http://schemas.microsoft.com/office/drawing/2014/main" id="{95949004-9D72-CE1C-CA36-F1AFA4D77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633472"/>
            <a:ext cx="5721390" cy="3566160"/>
          </a:xfrm>
        </p:spPr>
        <p:txBody>
          <a:bodyPr/>
          <a:lstStyle/>
          <a:p>
            <a:r>
              <a:rPr lang="de-DE" dirty="0"/>
              <a:t>Sales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US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in a </a:t>
            </a:r>
            <a:r>
              <a:rPr lang="de-DE" dirty="0" err="1"/>
              <a:t>spreadsheet</a:t>
            </a:r>
            <a:r>
              <a:rPr lang="de-DE" dirty="0"/>
              <a:t>, </a:t>
            </a:r>
            <a:r>
              <a:rPr lang="de-DE" dirty="0" err="1"/>
              <a:t>containing</a:t>
            </a:r>
            <a:r>
              <a:rPr lang="de-DE" dirty="0"/>
              <a:t> separate </a:t>
            </a:r>
            <a:r>
              <a:rPr lang="de-DE" dirty="0" err="1"/>
              <a:t>tabs</a:t>
            </a:r>
            <a:r>
              <a:rPr lang="de-DE" dirty="0"/>
              <a:t> </a:t>
            </a:r>
            <a:r>
              <a:rPr lang="de-DE" dirty="0" err="1"/>
              <a:t>including</a:t>
            </a:r>
            <a:r>
              <a:rPr lang="de-DE" dirty="0"/>
              <a:t>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orders</a:t>
            </a:r>
            <a:r>
              <a:rPr lang="de-DE" dirty="0"/>
              <a:t>, regional </a:t>
            </a:r>
            <a:r>
              <a:rPr lang="de-DE" dirty="0" err="1"/>
              <a:t>information</a:t>
            </a:r>
            <a:r>
              <a:rPr lang="de-DE" dirty="0"/>
              <a:t>, </a:t>
            </a:r>
            <a:r>
              <a:rPr lang="de-DE" dirty="0" err="1"/>
              <a:t>customer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, </a:t>
            </a:r>
            <a:r>
              <a:rPr lang="de-DE" dirty="0" err="1"/>
              <a:t>product</a:t>
            </a:r>
            <a:r>
              <a:rPr lang="de-DE" dirty="0"/>
              <a:t> IDs and </a:t>
            </a:r>
            <a:r>
              <a:rPr lang="de-DE" dirty="0" err="1"/>
              <a:t>budge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.</a:t>
            </a:r>
          </a:p>
          <a:p>
            <a:r>
              <a:rPr lang="de-DE" dirty="0"/>
              <a:t>The </a:t>
            </a:r>
            <a:r>
              <a:rPr lang="de-DE" dirty="0" err="1"/>
              <a:t>dataset</a:t>
            </a:r>
            <a:r>
              <a:rPr lang="de-DE" dirty="0"/>
              <a:t> </a:t>
            </a:r>
            <a:r>
              <a:rPr lang="de-DE" dirty="0" err="1"/>
              <a:t>includes</a:t>
            </a:r>
            <a:r>
              <a:rPr lang="de-DE" dirty="0"/>
              <a:t> 64104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record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2014-2018.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48FECCA6-03BF-D969-623E-BB47973840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186387"/>
              </p:ext>
            </p:extLst>
          </p:nvPr>
        </p:nvGraphicFramePr>
        <p:xfrm>
          <a:off x="6868896" y="2925937"/>
          <a:ext cx="1888435" cy="168402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888435">
                  <a:extLst>
                    <a:ext uri="{9D8B030D-6E8A-4147-A177-3AD203B41FA5}">
                      <a16:colId xmlns:a16="http://schemas.microsoft.com/office/drawing/2014/main" val="3167516268"/>
                    </a:ext>
                  </a:extLst>
                </a:gridCol>
              </a:tblGrid>
              <a:tr h="1295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Sales Orders</a:t>
                      </a:r>
                      <a:endParaRPr lang="de-DE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83594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rderNumber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94382474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rderDate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55862729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ustomer Name Index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19088923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annel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18471438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urrency Cod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86883220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arehouse Cod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12506219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livery</a:t>
                      </a: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Region Index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60194382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oduct</a:t>
                      </a: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Description Index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57906998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rder </a:t>
                      </a: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Quantity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229805697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Unit Pric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61066070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ne Total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69460779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 Unit </a:t>
                      </a: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st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64776401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046F60C2-6162-56A9-5F4B-7241337A5A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50857"/>
              </p:ext>
            </p:extLst>
          </p:nvPr>
        </p:nvGraphicFramePr>
        <p:xfrm>
          <a:off x="6868895" y="5108677"/>
          <a:ext cx="1888435" cy="38862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888435">
                  <a:extLst>
                    <a:ext uri="{9D8B030D-6E8A-4147-A177-3AD203B41FA5}">
                      <a16:colId xmlns:a16="http://schemas.microsoft.com/office/drawing/2014/main" val="3167516268"/>
                    </a:ext>
                  </a:extLst>
                </a:gridCol>
              </a:tblGrid>
              <a:tr h="1295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Customers</a:t>
                      </a:r>
                      <a:endParaRPr lang="de-DE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83594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stomer Index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94382474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stomer </a:t>
                      </a:r>
                      <a:r>
                        <a:rPr lang="de-D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es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55862729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3CC43650-4920-9591-FE26-EDFEE53166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0447536"/>
              </p:ext>
            </p:extLst>
          </p:nvPr>
        </p:nvGraphicFramePr>
        <p:xfrm>
          <a:off x="9642573" y="2609707"/>
          <a:ext cx="1888435" cy="207264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888435">
                  <a:extLst>
                    <a:ext uri="{9D8B030D-6E8A-4147-A177-3AD203B41FA5}">
                      <a16:colId xmlns:a16="http://schemas.microsoft.com/office/drawing/2014/main" val="3167516268"/>
                    </a:ext>
                  </a:extLst>
                </a:gridCol>
              </a:tblGrid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1" u="none" strike="noStrike" kern="1200" dirty="0" err="1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s</a:t>
                      </a:r>
                      <a:endParaRPr lang="de-DE" sz="800" b="1" u="none" strike="noStrike" kern="1200" dirty="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83594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d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94382474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55862729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unty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530206878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ate_code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03913868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ate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74692797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yp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56302201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atitude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924077987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ngitude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181786385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rea_code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0553782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pulation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41279359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ouseholds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6504702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edian_income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77939502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and_area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8890595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water_area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50828488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de-D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ime_zone</a:t>
                      </a:r>
                      <a:endParaRPr lang="de-D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83830875"/>
                  </a:ext>
                </a:extLst>
              </a:tr>
            </a:tbl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5686DB4A-CAA4-4F52-8B25-5FDDA0D6DE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4727735"/>
              </p:ext>
            </p:extLst>
          </p:nvPr>
        </p:nvGraphicFramePr>
        <p:xfrm>
          <a:off x="9642572" y="1812783"/>
          <a:ext cx="1888435" cy="51816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888435">
                  <a:extLst>
                    <a:ext uri="{9D8B030D-6E8A-4147-A177-3AD203B41FA5}">
                      <a16:colId xmlns:a16="http://schemas.microsoft.com/office/drawing/2014/main" val="3167516268"/>
                    </a:ext>
                  </a:extLst>
                </a:gridCol>
              </a:tblGrid>
              <a:tr h="1295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State </a:t>
                      </a:r>
                      <a:r>
                        <a:rPr lang="de-DE" sz="800" b="1" u="none" strike="noStrike" dirty="0" err="1">
                          <a:solidFill>
                            <a:srgbClr val="FFFFFF"/>
                          </a:solidFill>
                          <a:effectLst/>
                        </a:rPr>
                        <a:t>Regions</a:t>
                      </a:r>
                      <a:endParaRPr lang="de-DE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83594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e Cod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94382474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55862729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717685623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F9A50E4E-F484-54C6-D16C-33F9AD197C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58515"/>
              </p:ext>
            </p:extLst>
          </p:nvPr>
        </p:nvGraphicFramePr>
        <p:xfrm>
          <a:off x="9586251" y="5108677"/>
          <a:ext cx="1888435" cy="38862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888435">
                  <a:extLst>
                    <a:ext uri="{9D8B030D-6E8A-4147-A177-3AD203B41FA5}">
                      <a16:colId xmlns:a16="http://schemas.microsoft.com/office/drawing/2014/main" val="3167516268"/>
                    </a:ext>
                  </a:extLst>
                </a:gridCol>
              </a:tblGrid>
              <a:tr h="1295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Products</a:t>
                      </a:r>
                      <a:endParaRPr lang="de-DE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83594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ex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94382474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duct</a:t>
                      </a: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am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55862729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6B912E86-C88E-BBEC-66A3-3C45FFD2E1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470346"/>
              </p:ext>
            </p:extLst>
          </p:nvPr>
        </p:nvGraphicFramePr>
        <p:xfrm>
          <a:off x="9586250" y="6145161"/>
          <a:ext cx="1888435" cy="38862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888435">
                  <a:extLst>
                    <a:ext uri="{9D8B030D-6E8A-4147-A177-3AD203B41FA5}">
                      <a16:colId xmlns:a16="http://schemas.microsoft.com/office/drawing/2014/main" val="3167516268"/>
                    </a:ext>
                  </a:extLst>
                </a:gridCol>
              </a:tblGrid>
              <a:tr h="9473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2017 Budgets</a:t>
                      </a:r>
                      <a:endParaRPr lang="de-DE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835941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duct</a:t>
                      </a: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am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94382474"/>
                  </a:ext>
                </a:extLst>
              </a:tr>
              <a:tr h="122417">
                <a:tc>
                  <a:txBody>
                    <a:bodyPr/>
                    <a:lstStyle/>
                    <a:p>
                      <a:pPr algn="l" fontAlgn="b">
                        <a:buNone/>
                      </a:pP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7 Budgets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55862729"/>
                  </a:ext>
                </a:extLst>
              </a:tr>
            </a:tbl>
          </a:graphicData>
        </a:graphic>
      </p:graphicFrame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58738363-72D6-53FA-71FE-93B8CFC95060}"/>
              </a:ext>
            </a:extLst>
          </p:cNvPr>
          <p:cNvCxnSpPr>
            <a:cxnSpLocks/>
            <a:stCxn id="11" idx="2"/>
            <a:endCxn id="12" idx="0"/>
          </p:cNvCxnSpPr>
          <p:nvPr/>
        </p:nvCxnSpPr>
        <p:spPr>
          <a:xfrm flipH="1">
            <a:off x="10530467" y="5497297"/>
            <a:ext cx="1" cy="64786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157B7FE9-6DC5-1F95-317E-AF2167E14F5E}"/>
              </a:ext>
            </a:extLst>
          </p:cNvPr>
          <p:cNvCxnSpPr>
            <a:cxnSpLocks/>
            <a:stCxn id="10" idx="2"/>
            <a:endCxn id="9" idx="0"/>
          </p:cNvCxnSpPr>
          <p:nvPr/>
        </p:nvCxnSpPr>
        <p:spPr>
          <a:xfrm>
            <a:off x="10586789" y="2330943"/>
            <a:ext cx="1" cy="27876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2B879682-47BF-51DF-CAC7-0BD88C3CA560}"/>
              </a:ext>
            </a:extLst>
          </p:cNvPr>
          <p:cNvCxnSpPr>
            <a:cxnSpLocks/>
            <a:stCxn id="8" idx="0"/>
            <a:endCxn id="7" idx="2"/>
          </p:cNvCxnSpPr>
          <p:nvPr/>
        </p:nvCxnSpPr>
        <p:spPr>
          <a:xfrm flipV="1">
            <a:off x="7813112" y="4609957"/>
            <a:ext cx="1" cy="49872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E79B054-999E-05D1-8AE2-14446C74BBB9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8757331" y="3646027"/>
            <a:ext cx="885242" cy="25609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90523416-A358-0317-6E6F-4AEFCCDCF536}"/>
              </a:ext>
            </a:extLst>
          </p:cNvPr>
          <p:cNvCxnSpPr>
            <a:endCxn id="11" idx="1"/>
          </p:cNvCxnSpPr>
          <p:nvPr/>
        </p:nvCxnSpPr>
        <p:spPr>
          <a:xfrm>
            <a:off x="8757330" y="3902124"/>
            <a:ext cx="828921" cy="140086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05962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0A0F68-62A2-1D8D-BB3A-425ABF4672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022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0A0F68-62A2-1D8D-BB3A-425ABF467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95CB0A3-C657-AE6A-FF3F-2068F8CEF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Exploratory Data Analysi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B181890-2AA4-5214-CF95-042AB2329F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5226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F2AD57E-DD48-BB05-028D-40C33732E5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688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2AD57E-DD48-BB05-028D-40C33732E5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CE27F8D-160F-5E75-597B-52D6ADE6A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altLang="de-DE" b="0" dirty="0">
                <a:latin typeface="menlo"/>
              </a:rPr>
              <a:t>Overall Sales </a:t>
            </a:r>
            <a:r>
              <a:rPr lang="de-DE" altLang="de-DE" b="0" dirty="0" err="1">
                <a:latin typeface="menlo"/>
              </a:rPr>
              <a:t>Statistics</a:t>
            </a:r>
            <a:endParaRPr lang="de-DE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EE94631F-A886-8640-7189-B40054893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8291" y="2696479"/>
            <a:ext cx="4688840" cy="3566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29C94BB2-D25B-2D32-A131-B8A154FC634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640079" y="2696479"/>
            <a:ext cx="4510850" cy="215443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Total Revenue: 		$1,235,968,899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Total Profit: 		$461,772,556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Average Order Value: 	$19,280.68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Largest</a:t>
            </a:r>
            <a:r>
              <a:rPr kumimoji="0" lang="de-DE" altLang="de-D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rder Value: 	$78,711.6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Total Orders: 		10684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Total Unique Customers: 175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Total Unique Products: 	30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DE8E843-2DAB-0702-6FA6-09B1181129FE}"/>
              </a:ext>
            </a:extLst>
          </p:cNvPr>
          <p:cNvSpPr txBox="1"/>
          <p:nvPr/>
        </p:nvSpPr>
        <p:spPr>
          <a:xfrm>
            <a:off x="7202557" y="2327147"/>
            <a:ext cx="36800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istribu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volu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91676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7273AA6-6977-7554-C311-3A25D84980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649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273AA6-6977-7554-C311-3A25D84980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099CD17-F34E-D499-F6D3-49DF710DB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Historical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volumes</a:t>
            </a:r>
            <a:r>
              <a:rPr lang="de-DE" dirty="0"/>
              <a:t> (total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0E5F3D1-1291-97D2-F698-EAE29C3FB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79" y="2633472"/>
            <a:ext cx="5303521" cy="356616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he overall trajectory does not show a consistent upward or downward movement over the 4 </a:t>
            </a:r>
            <a:r>
              <a:rPr lang="en-US" dirty="0" err="1"/>
              <a:t>years.Sales</a:t>
            </a:r>
            <a:r>
              <a:rPr lang="en-US" dirty="0"/>
              <a:t> fluctuate significantly month-to-month, indicating a volatile market or seasonal influences.</a:t>
            </a:r>
          </a:p>
          <a:p>
            <a:r>
              <a:rPr lang="en-US" dirty="0"/>
              <a:t>The is a major dip in early 2017</a:t>
            </a:r>
          </a:p>
          <a:p>
            <a:r>
              <a:rPr lang="en-US" dirty="0"/>
              <a:t>The business may be influenced by </a:t>
            </a:r>
            <a:r>
              <a:rPr lang="en-US" b="1" dirty="0"/>
              <a:t>seasonal cycles</a:t>
            </a:r>
            <a:r>
              <a:rPr lang="en-US" dirty="0"/>
              <a:t>, </a:t>
            </a:r>
            <a:r>
              <a:rPr lang="en-US" b="1" dirty="0"/>
              <a:t>market conditions</a:t>
            </a:r>
            <a:r>
              <a:rPr lang="en-US" dirty="0"/>
              <a:t>, or </a:t>
            </a:r>
            <a:r>
              <a:rPr lang="en-US" b="1" dirty="0"/>
              <a:t>product launches</a:t>
            </a:r>
            <a:r>
              <a:rPr lang="en-US" dirty="0"/>
              <a:t>.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683261F2-5BA5-4C91-E7BA-9293418FDF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914" y="2259139"/>
            <a:ext cx="5667375" cy="431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7846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16B87D-FD13-1EB4-DC1C-8413FC882E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08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16B87D-FD13-1EB4-DC1C-8413FC882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CEDE1F-7521-D910-CEFD-DC6658EEC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onthly Revenue (</a:t>
            </a:r>
            <a:r>
              <a:rPr lang="de-DE" dirty="0" err="1"/>
              <a:t>Seasonality</a:t>
            </a:r>
            <a:r>
              <a:rPr lang="de-DE" dirty="0"/>
              <a:t>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11149B-6494-D6DA-8BE0-40CEB1E04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633472"/>
            <a:ext cx="5005346" cy="3566160"/>
          </a:xfrm>
        </p:spPr>
        <p:txBody>
          <a:bodyPr>
            <a:normAutofit fontScale="70000" lnSpcReduction="20000"/>
          </a:bodyPr>
          <a:lstStyle/>
          <a:p>
            <a:r>
              <a:rPr lang="en-US" b="1" dirty="0"/>
              <a:t>February</a:t>
            </a:r>
            <a:r>
              <a:rPr lang="en-US" dirty="0"/>
              <a:t> shows the </a:t>
            </a:r>
            <a:r>
              <a:rPr lang="en-US" b="1" dirty="0"/>
              <a:t>lowest revenue</a:t>
            </a:r>
            <a:r>
              <a:rPr lang="en-US" dirty="0"/>
              <a:t>, around </a:t>
            </a:r>
            <a:r>
              <a:rPr lang="en-US" b="1" dirty="0"/>
              <a:t>92.0M</a:t>
            </a:r>
            <a:r>
              <a:rPr lang="en-US" dirty="0"/>
              <a:t>, suggesting a post-holiday slowdown</a:t>
            </a:r>
            <a:endParaRPr lang="de-DE" dirty="0"/>
          </a:p>
          <a:p>
            <a:r>
              <a:rPr lang="en-US" b="1" dirty="0"/>
              <a:t>May</a:t>
            </a:r>
            <a:r>
              <a:rPr lang="en-US" dirty="0"/>
              <a:t> marks the </a:t>
            </a:r>
            <a:r>
              <a:rPr lang="en-US" b="1" dirty="0"/>
              <a:t>highest peak</a:t>
            </a:r>
            <a:r>
              <a:rPr lang="en-US" dirty="0"/>
              <a:t>, reaching approximately </a:t>
            </a:r>
            <a:r>
              <a:rPr lang="en-US" b="1" dirty="0"/>
              <a:t>102.0M</a:t>
            </a:r>
          </a:p>
          <a:p>
            <a:r>
              <a:rPr lang="en-US" b="1" dirty="0"/>
              <a:t>August</a:t>
            </a:r>
            <a:r>
              <a:rPr lang="en-US" dirty="0"/>
              <a:t> also shows a strong performance, just below May’s peak.</a:t>
            </a:r>
          </a:p>
          <a:p>
            <a:r>
              <a:rPr lang="en-US" b="1" dirty="0"/>
              <a:t>June and July</a:t>
            </a:r>
            <a:r>
              <a:rPr lang="en-US" dirty="0"/>
              <a:t> experience a slight decline, with revenues around </a:t>
            </a:r>
            <a:r>
              <a:rPr lang="en-US" b="1" dirty="0"/>
              <a:t>96.0M</a:t>
            </a:r>
            <a:r>
              <a:rPr lang="en-US" dirty="0"/>
              <a:t>, possibly due to summer holidays or reduced business activity.</a:t>
            </a:r>
          </a:p>
          <a:p>
            <a:r>
              <a:rPr lang="en-US" dirty="0"/>
              <a:t>From </a:t>
            </a:r>
            <a:r>
              <a:rPr lang="en-US" b="1" dirty="0"/>
              <a:t>September to December</a:t>
            </a:r>
            <a:r>
              <a:rPr lang="en-US" dirty="0"/>
              <a:t>, sales remain relatively </a:t>
            </a:r>
            <a:r>
              <a:rPr lang="en-US" b="1" dirty="0"/>
              <a:t>stable</a:t>
            </a:r>
            <a:r>
              <a:rPr lang="en-US" dirty="0"/>
              <a:t>, fluctuating around </a:t>
            </a:r>
            <a:r>
              <a:rPr lang="en-US" b="1" dirty="0"/>
              <a:t>100.0M</a:t>
            </a:r>
            <a:r>
              <a:rPr lang="en-US" dirty="0"/>
              <a:t>, indicating consistent performance during the final quarter.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CF963BBE-5518-999A-D921-5A8079FA5D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462" y="2559177"/>
            <a:ext cx="5610225" cy="3714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1041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shVTI">
  <a:themeElements>
    <a:clrScheme name="Custom 6">
      <a:dk1>
        <a:sysClr val="windowText" lastClr="000000"/>
      </a:dk1>
      <a:lt1>
        <a:sysClr val="window" lastClr="FFFFFF"/>
      </a:lt1>
      <a:dk2>
        <a:srgbClr val="0D1C3B"/>
      </a:dk2>
      <a:lt2>
        <a:srgbClr val="F5F2F9"/>
      </a:lt2>
      <a:accent1>
        <a:srgbClr val="1973EB"/>
      </a:accent1>
      <a:accent2>
        <a:srgbClr val="25C8A2"/>
      </a:accent2>
      <a:accent3>
        <a:srgbClr val="BF8ED1"/>
      </a:accent3>
      <a:accent4>
        <a:srgbClr val="FE733C"/>
      </a:accent4>
      <a:accent5>
        <a:srgbClr val="FE5A5A"/>
      </a:accent5>
      <a:accent6>
        <a:srgbClr val="1AC16E"/>
      </a:accent6>
      <a:hlink>
        <a:srgbClr val="1AC16E"/>
      </a:hlink>
      <a:folHlink>
        <a:srgbClr val="00B0F0"/>
      </a:folHlink>
    </a:clrScheme>
    <a:fontScheme name="grandview display">
      <a:majorFont>
        <a:latin typeface="Grandview Display"/>
        <a:ea typeface=""/>
        <a:cs typeface=""/>
      </a:majorFont>
      <a:minorFont>
        <a:latin typeface="Grandview Displ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shVTI" id="{0A75137F-CDEB-4E94-A788-9D255EBE1B91}" vid="{DE9A6A09-5855-45A3-8E99-4290ED24057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5</Words>
  <Application>Microsoft Office PowerPoint</Application>
  <PresentationFormat>Breitbild</PresentationFormat>
  <Paragraphs>124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2" baseType="lpstr">
      <vt:lpstr>Arial</vt:lpstr>
      <vt:lpstr>Grandview Display</vt:lpstr>
      <vt:lpstr>menlo</vt:lpstr>
      <vt:lpstr>DashVTI</vt:lpstr>
      <vt:lpstr>think-cell Folie</vt:lpstr>
      <vt:lpstr>Regional Sales Summary</vt:lpstr>
      <vt:lpstr>Regional Sales Summary</vt:lpstr>
      <vt:lpstr>Project Workflow</vt:lpstr>
      <vt:lpstr>Approach</vt:lpstr>
      <vt:lpstr>Data Overview</vt:lpstr>
      <vt:lpstr>Exploratory Data Analysis</vt:lpstr>
      <vt:lpstr>Overall Sales Statistics</vt:lpstr>
      <vt:lpstr>Historical sales volumes (total)</vt:lpstr>
      <vt:lpstr>Monthly Revenue (Seasonality)</vt:lpstr>
      <vt:lpstr>Sales by US Region</vt:lpstr>
      <vt:lpstr>Historical Sales by US Region</vt:lpstr>
      <vt:lpstr>Top and Bottom performing SKUs</vt:lpstr>
      <vt:lpstr>Sales by Channel</vt:lpstr>
      <vt:lpstr>Customer Ranking</vt:lpstr>
      <vt:lpstr>Customer Segmentation</vt:lpstr>
      <vt:lpstr>Key insights</vt:lpstr>
      <vt:lpstr>Recommend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ichard Buntrock</dc:creator>
  <cp:lastModifiedBy>Richard Buntrock</cp:lastModifiedBy>
  <cp:revision>1</cp:revision>
  <dcterms:created xsi:type="dcterms:W3CDTF">2025-09-23T07:19:03Z</dcterms:created>
  <dcterms:modified xsi:type="dcterms:W3CDTF">2025-09-26T12:2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4f9abf-41d9-4073-8cec-9d70b37e948d_Enabled">
    <vt:lpwstr>true</vt:lpwstr>
  </property>
  <property fmtid="{D5CDD505-2E9C-101B-9397-08002B2CF9AE}" pid="3" name="MSIP_Label_f64f9abf-41d9-4073-8cec-9d70b37e948d_SetDate">
    <vt:lpwstr>2025-09-24T07:17:46Z</vt:lpwstr>
  </property>
  <property fmtid="{D5CDD505-2E9C-101B-9397-08002B2CF9AE}" pid="4" name="MSIP_Label_f64f9abf-41d9-4073-8cec-9d70b37e948d_Method">
    <vt:lpwstr>Standard</vt:lpwstr>
  </property>
  <property fmtid="{D5CDD505-2E9C-101B-9397-08002B2CF9AE}" pid="5" name="MSIP_Label_f64f9abf-41d9-4073-8cec-9d70b37e948d_Name">
    <vt:lpwstr>f64f9abf-41d9-4073-8cec-9d70b37e948d</vt:lpwstr>
  </property>
  <property fmtid="{D5CDD505-2E9C-101B-9397-08002B2CF9AE}" pid="6" name="MSIP_Label_f64f9abf-41d9-4073-8cec-9d70b37e948d_SiteId">
    <vt:lpwstr>d22c77f4-2e36-47f9-91bd-85176efc7a36</vt:lpwstr>
  </property>
  <property fmtid="{D5CDD505-2E9C-101B-9397-08002B2CF9AE}" pid="7" name="MSIP_Label_f64f9abf-41d9-4073-8cec-9d70b37e948d_ActionId">
    <vt:lpwstr>453545f3-24bd-4196-b4ff-da9d31f3146a</vt:lpwstr>
  </property>
  <property fmtid="{D5CDD505-2E9C-101B-9397-08002B2CF9AE}" pid="8" name="MSIP_Label_f64f9abf-41d9-4073-8cec-9d70b37e948d_ContentBits">
    <vt:lpwstr>0</vt:lpwstr>
  </property>
  <property fmtid="{D5CDD505-2E9C-101B-9397-08002B2CF9AE}" pid="9" name="MSIP_Label_f64f9abf-41d9-4073-8cec-9d70b37e948d_Tag">
    <vt:lpwstr>10, 3, 0, 1</vt:lpwstr>
  </property>
</Properties>
</file>